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3.xml" ContentType="application/vnd.openxmlformats-officedocument.theme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5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567" r:id="rId1"/>
    <p:sldMasterId id="2147485237" r:id="rId2"/>
    <p:sldMasterId id="2147486080" r:id="rId3"/>
    <p:sldMasterId id="2147486083" r:id="rId4"/>
    <p:sldMasterId id="2147485356" r:id="rId5"/>
    <p:sldMasterId id="2147483660" r:id="rId6"/>
  </p:sldMasterIdLst>
  <p:notesMasterIdLst>
    <p:notesMasterId r:id="rId21"/>
  </p:notesMasterIdLst>
  <p:sldIdLst>
    <p:sldId id="257" r:id="rId7"/>
    <p:sldId id="282" r:id="rId8"/>
    <p:sldId id="281" r:id="rId9"/>
    <p:sldId id="280" r:id="rId10"/>
    <p:sldId id="279" r:id="rId11"/>
    <p:sldId id="278" r:id="rId12"/>
    <p:sldId id="264" r:id="rId13"/>
    <p:sldId id="277" r:id="rId14"/>
    <p:sldId id="276" r:id="rId15"/>
    <p:sldId id="275" r:id="rId16"/>
    <p:sldId id="274" r:id="rId17"/>
    <p:sldId id="273" r:id="rId18"/>
    <p:sldId id="260" r:id="rId19"/>
    <p:sldId id="267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C96A61-98C0-23C9-867B-2FDF227CE8E1}" v="2" dt="2023-06-14T14:37:14.331"/>
    <p1510:client id="{11BF3743-A04F-03D3-32E9-A28E15B91CAE}" v="7" dt="2023-07-20T16:55:30.181"/>
    <p1510:client id="{188A6A7F-DCC3-106F-E24A-314BB2B22FE8}" v="5" dt="2023-07-20T16:45:32.081"/>
    <p1510:client id="{1A53464F-2572-27C0-6375-B5F3FC24885D}" v="65" dt="2023-07-06T20:46:00.066"/>
    <p1510:client id="{402D5EDF-3AFE-1D6D-DC20-D6C4B3B701E1}" v="17" dt="2023-06-23T14:53:47.238"/>
    <p1510:client id="{481834F6-2D78-A6C3-2519-0E1DECD4FB7F}" v="203" dt="2023-06-16T15:54:27.066"/>
    <p1510:client id="{8CE1234A-6D2D-4C3D-A07D-118B90E9FFF1}" v="153" dt="2023-06-14T13:57:24.092"/>
    <p1510:client id="{C45808BD-2E1D-3622-7417-4CDCDDDFD5DD}" v="13" dt="2023-07-18T13:07:01.465"/>
    <p1510:client id="{D612772C-3C3A-2882-BBC3-556ECA25ADFD}" v="19" dt="2023-06-22T16:48:40.8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6-48D0-8EC4-02EDC93E515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6-48D0-8EC4-02EDC93E51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6-48D0-8EC4-02EDC93E5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5"/>
        <c:axId val="-2082246232"/>
        <c:axId val="-2082249784"/>
      </c:barChart>
      <c:catAx>
        <c:axId val="-2082246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2249784"/>
        <c:crosses val="autoZero"/>
        <c:auto val="1"/>
        <c:lblAlgn val="ctr"/>
        <c:lblOffset val="100"/>
        <c:noMultiLvlLbl val="0"/>
      </c:catAx>
      <c:valAx>
        <c:axId val="-2082249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2246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603915452597399"/>
          <c:y val="0.94495596093918"/>
          <c:w val="0.32470107903178802"/>
          <c:h val="5.24842730597124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2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svg"/><Relationship Id="rId1" Type="http://schemas.openxmlformats.org/officeDocument/2006/relationships/image" Target="../media/image89.png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svg"/><Relationship Id="rId1" Type="http://schemas.openxmlformats.org/officeDocument/2006/relationships/image" Target="../media/image89.png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9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E44463-FA07-40BB-B516-A321112EA1CE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colorful1" csCatId="colorful" phldr="1"/>
      <dgm:spPr/>
      <dgm:t>
        <a:bodyPr/>
        <a:lstStyle/>
        <a:p>
          <a:endParaRPr lang="en-US"/>
        </a:p>
      </dgm:t>
    </dgm:pt>
    <dgm:pt modelId="{E3714F9B-A59A-4F90-ABFA-AF6766F14D6A}">
      <dgm:prSet/>
      <dgm:spPr/>
      <dgm:t>
        <a:bodyPr/>
        <a:lstStyle/>
        <a:p>
          <a:pPr rtl="0"/>
          <a:r>
            <a:rPr lang="en-US" b="0" i="0" dirty="0"/>
            <a:t>Have you </a:t>
          </a:r>
          <a:r>
            <a:rPr lang="en-US" b="0" i="0" dirty="0">
              <a:latin typeface="Calibri" panose="020F0502020204030204"/>
            </a:rPr>
            <a:t>identified</a:t>
          </a:r>
          <a:r>
            <a:rPr lang="en-US" dirty="0">
              <a:latin typeface="Calibri" panose="020F0502020204030204"/>
            </a:rPr>
            <a:t> a patient partner yet?</a:t>
          </a:r>
          <a:endParaRPr lang="en-US" dirty="0"/>
        </a:p>
      </dgm:t>
    </dgm:pt>
    <dgm:pt modelId="{CF9CCD31-98CD-42D1-BDCC-FA8EA7D004EA}" type="parTrans" cxnId="{48DE0512-BF9F-4202-91EF-567032EACD69}">
      <dgm:prSet/>
      <dgm:spPr/>
      <dgm:t>
        <a:bodyPr/>
        <a:lstStyle/>
        <a:p>
          <a:endParaRPr lang="en-US"/>
        </a:p>
      </dgm:t>
    </dgm:pt>
    <dgm:pt modelId="{4AE6D562-6ADA-4005-AD4B-CA8B745EBB03}" type="sibTrans" cxnId="{48DE0512-BF9F-4202-91EF-567032EACD69}">
      <dgm:prSet/>
      <dgm:spPr/>
      <dgm:t>
        <a:bodyPr/>
        <a:lstStyle/>
        <a:p>
          <a:endParaRPr lang="en-US"/>
        </a:p>
      </dgm:t>
    </dgm:pt>
    <dgm:pt modelId="{683CE660-3A46-49C6-8884-43904D00D483}">
      <dgm:prSet/>
      <dgm:spPr/>
      <dgm:t>
        <a:bodyPr/>
        <a:lstStyle/>
        <a:p>
          <a:pPr rtl="0"/>
          <a:r>
            <a:rPr lang="en-US" b="0" i="0" dirty="0"/>
            <a:t>What are some of your identified challenges/barriers to </a:t>
          </a:r>
          <a:r>
            <a:rPr lang="en-US" b="0" i="0" dirty="0">
              <a:latin typeface="Calibri" panose="020F0502020204030204"/>
            </a:rPr>
            <a:t>engaging a</a:t>
          </a:r>
          <a:r>
            <a:rPr lang="en-US" dirty="0">
              <a:latin typeface="Calibri" panose="020F0502020204030204"/>
            </a:rPr>
            <a:t> patient partner?</a:t>
          </a:r>
          <a:endParaRPr lang="en-US" dirty="0"/>
        </a:p>
      </dgm:t>
    </dgm:pt>
    <dgm:pt modelId="{22FAC09A-EDA0-4D7C-8881-505E08BF2A1B}" type="parTrans" cxnId="{482679B2-96C2-404E-B6E5-02D301F35160}">
      <dgm:prSet/>
      <dgm:spPr/>
      <dgm:t>
        <a:bodyPr/>
        <a:lstStyle/>
        <a:p>
          <a:endParaRPr lang="en-US"/>
        </a:p>
      </dgm:t>
    </dgm:pt>
    <dgm:pt modelId="{B4AC9223-1421-497E-8EC8-055447CA0159}" type="sibTrans" cxnId="{482679B2-96C2-404E-B6E5-02D301F35160}">
      <dgm:prSet/>
      <dgm:spPr/>
      <dgm:t>
        <a:bodyPr/>
        <a:lstStyle/>
        <a:p>
          <a:endParaRPr lang="en-US"/>
        </a:p>
      </dgm:t>
    </dgm:pt>
    <dgm:pt modelId="{6935B4F1-9359-4C74-91C1-4DDF43E2B6D0}">
      <dgm:prSet/>
      <dgm:spPr/>
      <dgm:t>
        <a:bodyPr/>
        <a:lstStyle/>
        <a:p>
          <a:pPr rtl="0"/>
          <a:r>
            <a:rPr lang="en-US" b="0" i="0" dirty="0"/>
            <a:t>What is one step you can take in the next week to move </a:t>
          </a:r>
          <a:r>
            <a:rPr lang="en-US" dirty="0">
              <a:latin typeface="Calibri" panose="020F0502020204030204"/>
            </a:rPr>
            <a:t>this strategy forward?</a:t>
          </a:r>
          <a:endParaRPr lang="en-US" dirty="0"/>
        </a:p>
      </dgm:t>
    </dgm:pt>
    <dgm:pt modelId="{A84C1B78-B769-4C7C-9FEB-DB8B60C123F1}" type="parTrans" cxnId="{E5758A2C-ED5F-4950-A8AB-BA61639C4C4C}">
      <dgm:prSet/>
      <dgm:spPr/>
      <dgm:t>
        <a:bodyPr/>
        <a:lstStyle/>
        <a:p>
          <a:endParaRPr lang="en-US"/>
        </a:p>
      </dgm:t>
    </dgm:pt>
    <dgm:pt modelId="{978A8B20-E2EF-4F70-AE94-B8375C99496D}" type="sibTrans" cxnId="{E5758A2C-ED5F-4950-A8AB-BA61639C4C4C}">
      <dgm:prSet/>
      <dgm:spPr/>
      <dgm:t>
        <a:bodyPr/>
        <a:lstStyle/>
        <a:p>
          <a:endParaRPr lang="en-US"/>
        </a:p>
      </dgm:t>
    </dgm:pt>
    <dgm:pt modelId="{907F8EFF-62F2-4E4B-BB3B-4994DD0B5FCB}" type="pres">
      <dgm:prSet presAssocID="{82E44463-FA07-40BB-B516-A321112EA1CE}" presName="root" presStyleCnt="0">
        <dgm:presLayoutVars>
          <dgm:dir/>
          <dgm:resizeHandles val="exact"/>
        </dgm:presLayoutVars>
      </dgm:prSet>
      <dgm:spPr/>
    </dgm:pt>
    <dgm:pt modelId="{A6AE0FC4-1CC6-46E7-A015-1570576CF8B8}" type="pres">
      <dgm:prSet presAssocID="{E3714F9B-A59A-4F90-ABFA-AF6766F14D6A}" presName="compNode" presStyleCnt="0"/>
      <dgm:spPr/>
    </dgm:pt>
    <dgm:pt modelId="{5E4BBF04-E0FF-401C-B118-81C890F453CB}" type="pres">
      <dgm:prSet presAssocID="{E3714F9B-A59A-4F90-ABFA-AF6766F14D6A}" presName="bgRect" presStyleLbl="bgShp" presStyleIdx="0" presStyleCnt="3"/>
      <dgm:spPr/>
    </dgm:pt>
    <dgm:pt modelId="{08AC9F20-4450-4D9C-811B-9CFD985A02CA}" type="pres">
      <dgm:prSet presAssocID="{E3714F9B-A59A-4F90-ABFA-AF6766F14D6A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oardroom outline"/>
        </a:ext>
      </dgm:extLst>
    </dgm:pt>
    <dgm:pt modelId="{58606B74-3FAD-4801-86CB-C255E9FC69C0}" type="pres">
      <dgm:prSet presAssocID="{E3714F9B-A59A-4F90-ABFA-AF6766F14D6A}" presName="spaceRect" presStyleCnt="0"/>
      <dgm:spPr/>
    </dgm:pt>
    <dgm:pt modelId="{B08B28FA-F976-4114-B8C3-D1D593BA346E}" type="pres">
      <dgm:prSet presAssocID="{E3714F9B-A59A-4F90-ABFA-AF6766F14D6A}" presName="parTx" presStyleLbl="revTx" presStyleIdx="0" presStyleCnt="3">
        <dgm:presLayoutVars>
          <dgm:chMax val="0"/>
          <dgm:chPref val="0"/>
        </dgm:presLayoutVars>
      </dgm:prSet>
      <dgm:spPr/>
    </dgm:pt>
    <dgm:pt modelId="{C11B728C-1564-4284-BEC8-DEA348822984}" type="pres">
      <dgm:prSet presAssocID="{4AE6D562-6ADA-4005-AD4B-CA8B745EBB03}" presName="sibTrans" presStyleCnt="0"/>
      <dgm:spPr/>
    </dgm:pt>
    <dgm:pt modelId="{F7462B08-2FEA-4CD1-83BC-771B91B3E73E}" type="pres">
      <dgm:prSet presAssocID="{683CE660-3A46-49C6-8884-43904D00D483}" presName="compNode" presStyleCnt="0"/>
      <dgm:spPr/>
    </dgm:pt>
    <dgm:pt modelId="{E6556BD7-E528-43B1-9FAA-4666EA70AC23}" type="pres">
      <dgm:prSet presAssocID="{683CE660-3A46-49C6-8884-43904D00D483}" presName="bgRect" presStyleLbl="bgShp" presStyleIdx="1" presStyleCnt="3"/>
      <dgm:spPr/>
    </dgm:pt>
    <dgm:pt modelId="{E6D75FEC-82AD-493D-83BD-4524F0AC95A2}" type="pres">
      <dgm:prSet presAssocID="{683CE660-3A46-49C6-8884-43904D00D48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ence outline"/>
        </a:ext>
      </dgm:extLst>
    </dgm:pt>
    <dgm:pt modelId="{C2A456CF-CF4C-44BC-9F0B-465DE21DD9BA}" type="pres">
      <dgm:prSet presAssocID="{683CE660-3A46-49C6-8884-43904D00D483}" presName="spaceRect" presStyleCnt="0"/>
      <dgm:spPr/>
    </dgm:pt>
    <dgm:pt modelId="{A764EBE1-2A57-4D88-A573-AED5552D0982}" type="pres">
      <dgm:prSet presAssocID="{683CE660-3A46-49C6-8884-43904D00D483}" presName="parTx" presStyleLbl="revTx" presStyleIdx="1" presStyleCnt="3">
        <dgm:presLayoutVars>
          <dgm:chMax val="0"/>
          <dgm:chPref val="0"/>
        </dgm:presLayoutVars>
      </dgm:prSet>
      <dgm:spPr/>
    </dgm:pt>
    <dgm:pt modelId="{5D5FF109-CED5-4865-829E-8661408D5AD3}" type="pres">
      <dgm:prSet presAssocID="{B4AC9223-1421-497E-8EC8-055447CA0159}" presName="sibTrans" presStyleCnt="0"/>
      <dgm:spPr/>
    </dgm:pt>
    <dgm:pt modelId="{4E0128A1-C6FB-4D70-B298-70C1DFAF8D02}" type="pres">
      <dgm:prSet presAssocID="{6935B4F1-9359-4C74-91C1-4DDF43E2B6D0}" presName="compNode" presStyleCnt="0"/>
      <dgm:spPr/>
    </dgm:pt>
    <dgm:pt modelId="{237D476A-97CC-45FF-97BC-8C98E85FCBAB}" type="pres">
      <dgm:prSet presAssocID="{6935B4F1-9359-4C74-91C1-4DDF43E2B6D0}" presName="bgRect" presStyleLbl="bgShp" presStyleIdx="2" presStyleCnt="3"/>
      <dgm:spPr/>
    </dgm:pt>
    <dgm:pt modelId="{8A6F6652-C316-40D5-AC2A-4F41BF66443B}" type="pres">
      <dgm:prSet presAssocID="{6935B4F1-9359-4C74-91C1-4DDF43E2B6D0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Workflow"/>
        </a:ext>
      </dgm:extLst>
    </dgm:pt>
    <dgm:pt modelId="{B197E91F-3E72-4AF6-B391-8B147ECD3C7D}" type="pres">
      <dgm:prSet presAssocID="{6935B4F1-9359-4C74-91C1-4DDF43E2B6D0}" presName="spaceRect" presStyleCnt="0"/>
      <dgm:spPr/>
    </dgm:pt>
    <dgm:pt modelId="{8F100CC1-52A2-4901-8A23-B2C04CD93B95}" type="pres">
      <dgm:prSet presAssocID="{6935B4F1-9359-4C74-91C1-4DDF43E2B6D0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48DE0512-BF9F-4202-91EF-567032EACD69}" srcId="{82E44463-FA07-40BB-B516-A321112EA1CE}" destId="{E3714F9B-A59A-4F90-ABFA-AF6766F14D6A}" srcOrd="0" destOrd="0" parTransId="{CF9CCD31-98CD-42D1-BDCC-FA8EA7D004EA}" sibTransId="{4AE6D562-6ADA-4005-AD4B-CA8B745EBB03}"/>
    <dgm:cxn modelId="{E5758A2C-ED5F-4950-A8AB-BA61639C4C4C}" srcId="{82E44463-FA07-40BB-B516-A321112EA1CE}" destId="{6935B4F1-9359-4C74-91C1-4DDF43E2B6D0}" srcOrd="2" destOrd="0" parTransId="{A84C1B78-B769-4C7C-9FEB-DB8B60C123F1}" sibTransId="{978A8B20-E2EF-4F70-AE94-B8375C99496D}"/>
    <dgm:cxn modelId="{639E3A44-A9C7-47CE-A541-41F67927AA8B}" type="presOf" srcId="{E3714F9B-A59A-4F90-ABFA-AF6766F14D6A}" destId="{B08B28FA-F976-4114-B8C3-D1D593BA346E}" srcOrd="0" destOrd="0" presId="urn:microsoft.com/office/officeart/2018/2/layout/IconVerticalSolidList"/>
    <dgm:cxn modelId="{6C15CB4D-B045-4EBE-9924-B161CA400B76}" type="presOf" srcId="{683CE660-3A46-49C6-8884-43904D00D483}" destId="{A764EBE1-2A57-4D88-A573-AED5552D0982}" srcOrd="0" destOrd="0" presId="urn:microsoft.com/office/officeart/2018/2/layout/IconVerticalSolidList"/>
    <dgm:cxn modelId="{999A4D9D-0E8A-44BC-BB0B-8A632F746395}" type="presOf" srcId="{6935B4F1-9359-4C74-91C1-4DDF43E2B6D0}" destId="{8F100CC1-52A2-4901-8A23-B2C04CD93B95}" srcOrd="0" destOrd="0" presId="urn:microsoft.com/office/officeart/2018/2/layout/IconVerticalSolidList"/>
    <dgm:cxn modelId="{482679B2-96C2-404E-B6E5-02D301F35160}" srcId="{82E44463-FA07-40BB-B516-A321112EA1CE}" destId="{683CE660-3A46-49C6-8884-43904D00D483}" srcOrd="1" destOrd="0" parTransId="{22FAC09A-EDA0-4D7C-8881-505E08BF2A1B}" sibTransId="{B4AC9223-1421-497E-8EC8-055447CA0159}"/>
    <dgm:cxn modelId="{A40D5AB8-9F2C-4155-B81A-042EEB5FDA1F}" type="presOf" srcId="{82E44463-FA07-40BB-B516-A321112EA1CE}" destId="{907F8EFF-62F2-4E4B-BB3B-4994DD0B5FCB}" srcOrd="0" destOrd="0" presId="urn:microsoft.com/office/officeart/2018/2/layout/IconVerticalSolidList"/>
    <dgm:cxn modelId="{D5AF315D-3CA0-473E-A078-C29AD2904A94}" type="presParOf" srcId="{907F8EFF-62F2-4E4B-BB3B-4994DD0B5FCB}" destId="{A6AE0FC4-1CC6-46E7-A015-1570576CF8B8}" srcOrd="0" destOrd="0" presId="urn:microsoft.com/office/officeart/2018/2/layout/IconVerticalSolidList"/>
    <dgm:cxn modelId="{BF9190B5-49CD-473B-8EE0-F00A7B7C900A}" type="presParOf" srcId="{A6AE0FC4-1CC6-46E7-A015-1570576CF8B8}" destId="{5E4BBF04-E0FF-401C-B118-81C890F453CB}" srcOrd="0" destOrd="0" presId="urn:microsoft.com/office/officeart/2018/2/layout/IconVerticalSolidList"/>
    <dgm:cxn modelId="{625E6535-CD4B-4058-8D75-9CC60BD9007A}" type="presParOf" srcId="{A6AE0FC4-1CC6-46E7-A015-1570576CF8B8}" destId="{08AC9F20-4450-4D9C-811B-9CFD985A02CA}" srcOrd="1" destOrd="0" presId="urn:microsoft.com/office/officeart/2018/2/layout/IconVerticalSolidList"/>
    <dgm:cxn modelId="{363580B4-7CE6-499D-9F7E-A21824F261B7}" type="presParOf" srcId="{A6AE0FC4-1CC6-46E7-A015-1570576CF8B8}" destId="{58606B74-3FAD-4801-86CB-C255E9FC69C0}" srcOrd="2" destOrd="0" presId="urn:microsoft.com/office/officeart/2018/2/layout/IconVerticalSolidList"/>
    <dgm:cxn modelId="{05190473-2F47-4034-A18C-8C73CA2AF736}" type="presParOf" srcId="{A6AE0FC4-1CC6-46E7-A015-1570576CF8B8}" destId="{B08B28FA-F976-4114-B8C3-D1D593BA346E}" srcOrd="3" destOrd="0" presId="urn:microsoft.com/office/officeart/2018/2/layout/IconVerticalSolidList"/>
    <dgm:cxn modelId="{C907DB2C-A762-4497-BB17-BE5D8A9A02D7}" type="presParOf" srcId="{907F8EFF-62F2-4E4B-BB3B-4994DD0B5FCB}" destId="{C11B728C-1564-4284-BEC8-DEA348822984}" srcOrd="1" destOrd="0" presId="urn:microsoft.com/office/officeart/2018/2/layout/IconVerticalSolidList"/>
    <dgm:cxn modelId="{E7903451-F11B-43E7-AA83-AA9C96D39F16}" type="presParOf" srcId="{907F8EFF-62F2-4E4B-BB3B-4994DD0B5FCB}" destId="{F7462B08-2FEA-4CD1-83BC-771B91B3E73E}" srcOrd="2" destOrd="0" presId="urn:microsoft.com/office/officeart/2018/2/layout/IconVerticalSolidList"/>
    <dgm:cxn modelId="{DF8B886A-D846-4257-B7E2-A2551155114C}" type="presParOf" srcId="{F7462B08-2FEA-4CD1-83BC-771B91B3E73E}" destId="{E6556BD7-E528-43B1-9FAA-4666EA70AC23}" srcOrd="0" destOrd="0" presId="urn:microsoft.com/office/officeart/2018/2/layout/IconVerticalSolidList"/>
    <dgm:cxn modelId="{80D60E70-AE81-47B4-91BB-A4C8D8740157}" type="presParOf" srcId="{F7462B08-2FEA-4CD1-83BC-771B91B3E73E}" destId="{E6D75FEC-82AD-493D-83BD-4524F0AC95A2}" srcOrd="1" destOrd="0" presId="urn:microsoft.com/office/officeart/2018/2/layout/IconVerticalSolidList"/>
    <dgm:cxn modelId="{F8357FA1-DAA4-4D41-9EC3-7CFC2FE812F6}" type="presParOf" srcId="{F7462B08-2FEA-4CD1-83BC-771B91B3E73E}" destId="{C2A456CF-CF4C-44BC-9F0B-465DE21DD9BA}" srcOrd="2" destOrd="0" presId="urn:microsoft.com/office/officeart/2018/2/layout/IconVerticalSolidList"/>
    <dgm:cxn modelId="{9311E4B7-95AC-4CAC-A0AD-A16566C3F9E5}" type="presParOf" srcId="{F7462B08-2FEA-4CD1-83BC-771B91B3E73E}" destId="{A764EBE1-2A57-4D88-A573-AED5552D0982}" srcOrd="3" destOrd="0" presId="urn:microsoft.com/office/officeart/2018/2/layout/IconVerticalSolidList"/>
    <dgm:cxn modelId="{49ADDA20-82BB-4807-842A-7824D28818EF}" type="presParOf" srcId="{907F8EFF-62F2-4E4B-BB3B-4994DD0B5FCB}" destId="{5D5FF109-CED5-4865-829E-8661408D5AD3}" srcOrd="3" destOrd="0" presId="urn:microsoft.com/office/officeart/2018/2/layout/IconVerticalSolidList"/>
    <dgm:cxn modelId="{CB65E439-1D5B-4843-A97E-62A1710A0E85}" type="presParOf" srcId="{907F8EFF-62F2-4E4B-BB3B-4994DD0B5FCB}" destId="{4E0128A1-C6FB-4D70-B298-70C1DFAF8D02}" srcOrd="4" destOrd="0" presId="urn:microsoft.com/office/officeart/2018/2/layout/IconVerticalSolidList"/>
    <dgm:cxn modelId="{D4243E38-C321-467C-8E9A-CC26676E41C1}" type="presParOf" srcId="{4E0128A1-C6FB-4D70-B298-70C1DFAF8D02}" destId="{237D476A-97CC-45FF-97BC-8C98E85FCBAB}" srcOrd="0" destOrd="0" presId="urn:microsoft.com/office/officeart/2018/2/layout/IconVerticalSolidList"/>
    <dgm:cxn modelId="{54483554-D598-42D1-9EA1-C73BE01AD7FC}" type="presParOf" srcId="{4E0128A1-C6FB-4D70-B298-70C1DFAF8D02}" destId="{8A6F6652-C316-40D5-AC2A-4F41BF66443B}" srcOrd="1" destOrd="0" presId="urn:microsoft.com/office/officeart/2018/2/layout/IconVerticalSolidList"/>
    <dgm:cxn modelId="{420B928C-84C3-42F4-B641-8353D77C426E}" type="presParOf" srcId="{4E0128A1-C6FB-4D70-B298-70C1DFAF8D02}" destId="{B197E91F-3E72-4AF6-B391-8B147ECD3C7D}" srcOrd="2" destOrd="0" presId="urn:microsoft.com/office/officeart/2018/2/layout/IconVerticalSolidList"/>
    <dgm:cxn modelId="{4AB787CF-56EA-4A7F-86B9-8656E173A094}" type="presParOf" srcId="{4E0128A1-C6FB-4D70-B298-70C1DFAF8D02}" destId="{8F100CC1-52A2-4901-8A23-B2C04CD93B95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A6A0CE-A49E-43EA-8385-F50B65FD0078}" type="doc">
      <dgm:prSet loTypeId="urn:microsoft.com/office/officeart/2005/8/layout/process4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EF4B4F2-2C71-47FD-9D98-EC7D881AF439}">
      <dgm:prSet/>
      <dgm:spPr/>
      <dgm:t>
        <a:bodyPr/>
        <a:lstStyle/>
        <a:p>
          <a:pPr rtl="0"/>
          <a:r>
            <a:rPr lang="en-US" b="0" i="0"/>
            <a:t>Every team to hold a Respectful Care Breakfast</a:t>
          </a:r>
          <a:r>
            <a:rPr lang="en-US" b="0" i="0">
              <a:latin typeface="Calibri" panose="020F0502020204030204"/>
            </a:rPr>
            <a:t> </a:t>
          </a:r>
          <a:endParaRPr lang="en-US"/>
        </a:p>
      </dgm:t>
    </dgm:pt>
    <dgm:pt modelId="{7CD1BE71-7013-46BF-AAD7-DDAACFBC50D1}" type="parTrans" cxnId="{1E8EAAB1-C6F3-4A27-AAC2-1E7748565A7D}">
      <dgm:prSet/>
      <dgm:spPr/>
      <dgm:t>
        <a:bodyPr/>
        <a:lstStyle/>
        <a:p>
          <a:endParaRPr lang="en-US"/>
        </a:p>
      </dgm:t>
    </dgm:pt>
    <dgm:pt modelId="{9A5DC4A6-E43E-4DE4-9B0F-3ADDA482407F}" type="sibTrans" cxnId="{1E8EAAB1-C6F3-4A27-AAC2-1E7748565A7D}">
      <dgm:prSet/>
      <dgm:spPr/>
      <dgm:t>
        <a:bodyPr/>
        <a:lstStyle/>
        <a:p>
          <a:endParaRPr lang="en-US"/>
        </a:p>
      </dgm:t>
    </dgm:pt>
    <dgm:pt modelId="{6F1EA786-B662-4E24-83F4-9B10B6A28695}">
      <dgm:prSet/>
      <dgm:spPr/>
      <dgm:t>
        <a:bodyPr/>
        <a:lstStyle/>
        <a:p>
          <a:r>
            <a:rPr lang="en-US" b="0" i="0"/>
            <a:t>Ask doulas or lactation counselor, midwives/docs to consider patients to invite or ask NICU moms…</a:t>
          </a:r>
          <a:endParaRPr lang="en-US"/>
        </a:p>
      </dgm:t>
    </dgm:pt>
    <dgm:pt modelId="{5FA6DF19-F0A4-4A61-A03B-A8249EC3B60A}" type="parTrans" cxnId="{45E2E188-BF8B-4B9E-812D-23EE7B55C9F6}">
      <dgm:prSet/>
      <dgm:spPr/>
      <dgm:t>
        <a:bodyPr/>
        <a:lstStyle/>
        <a:p>
          <a:endParaRPr lang="en-US"/>
        </a:p>
      </dgm:t>
    </dgm:pt>
    <dgm:pt modelId="{2BB0E5B0-8092-442E-8EC8-D5EB5EDB91EA}" type="sibTrans" cxnId="{45E2E188-BF8B-4B9E-812D-23EE7B55C9F6}">
      <dgm:prSet/>
      <dgm:spPr/>
      <dgm:t>
        <a:bodyPr/>
        <a:lstStyle/>
        <a:p>
          <a:endParaRPr lang="en-US"/>
        </a:p>
      </dgm:t>
    </dgm:pt>
    <dgm:pt modelId="{DE84B402-98A8-4E57-B17C-AA705A44EF4B}">
      <dgm:prSet/>
      <dgm:spPr/>
      <dgm:t>
        <a:bodyPr/>
        <a:lstStyle/>
        <a:p>
          <a:r>
            <a:rPr lang="en-US" b="0" i="0"/>
            <a:t>Celebrate and talk about Respectful Care and strategies to increase Respectful Care Practices (how can we improve shared decision making, active listening)</a:t>
          </a:r>
          <a:endParaRPr lang="en-US"/>
        </a:p>
      </dgm:t>
    </dgm:pt>
    <dgm:pt modelId="{37319429-2FAF-4D0D-B75D-8B1187584A69}" type="parTrans" cxnId="{0DF13312-F21E-4B4B-8743-C0A2E2DCAD6D}">
      <dgm:prSet/>
      <dgm:spPr/>
      <dgm:t>
        <a:bodyPr/>
        <a:lstStyle/>
        <a:p>
          <a:endParaRPr lang="en-US"/>
        </a:p>
      </dgm:t>
    </dgm:pt>
    <dgm:pt modelId="{305AA0CC-2200-4BED-BF6B-912562374908}" type="sibTrans" cxnId="{0DF13312-F21E-4B4B-8743-C0A2E2DCAD6D}">
      <dgm:prSet/>
      <dgm:spPr/>
      <dgm:t>
        <a:bodyPr/>
        <a:lstStyle/>
        <a:p>
          <a:endParaRPr lang="en-US"/>
        </a:p>
      </dgm:t>
    </dgm:pt>
    <dgm:pt modelId="{4880075B-D69D-4874-8A48-C21126D70089}">
      <dgm:prSet/>
      <dgm:spPr/>
      <dgm:t>
        <a:bodyPr/>
        <a:lstStyle/>
        <a:p>
          <a:pPr rtl="0"/>
          <a:r>
            <a:rPr lang="en-US" b="0" i="0"/>
            <a:t>Make sure to also invite OB providers / nurses to attend</a:t>
          </a:r>
          <a:r>
            <a:rPr lang="en-US" b="0" i="0">
              <a:latin typeface="Calibri" panose="020F0502020204030204"/>
            </a:rPr>
            <a:t> </a:t>
          </a:r>
          <a:r>
            <a:rPr lang="en-US" b="0" i="0"/>
            <a:t>and use name tags</a:t>
          </a:r>
          <a:r>
            <a:rPr lang="en-US" b="0" i="0">
              <a:latin typeface="Calibri" panose="020F0502020204030204"/>
            </a:rPr>
            <a:t> </a:t>
          </a:r>
          <a:endParaRPr lang="en-US"/>
        </a:p>
      </dgm:t>
    </dgm:pt>
    <dgm:pt modelId="{B93A8070-D945-4AD4-B3A6-0248F49CF3CB}" type="parTrans" cxnId="{48032328-01C5-4304-8D24-C31904A2AC67}">
      <dgm:prSet/>
      <dgm:spPr/>
      <dgm:t>
        <a:bodyPr/>
        <a:lstStyle/>
        <a:p>
          <a:endParaRPr lang="en-US"/>
        </a:p>
      </dgm:t>
    </dgm:pt>
    <dgm:pt modelId="{42305965-A38B-408D-A113-7E2885FC024D}" type="sibTrans" cxnId="{48032328-01C5-4304-8D24-C31904A2AC67}">
      <dgm:prSet/>
      <dgm:spPr/>
      <dgm:t>
        <a:bodyPr/>
        <a:lstStyle/>
        <a:p>
          <a:endParaRPr lang="en-US"/>
        </a:p>
      </dgm:t>
    </dgm:pt>
    <dgm:pt modelId="{B02E652C-15D7-4BAB-836E-47BECA3095F6}">
      <dgm:prSet/>
      <dgm:spPr/>
      <dgm:t>
        <a:bodyPr/>
        <a:lstStyle/>
        <a:p>
          <a:r>
            <a:rPr lang="en-US" b="0" i="0"/>
            <a:t>Every team to engage a Patient Partner to work with their QI team by 11/2</a:t>
          </a:r>
          <a:endParaRPr lang="en-US"/>
        </a:p>
      </dgm:t>
    </dgm:pt>
    <dgm:pt modelId="{FEB49B93-4B45-48FD-9528-43DE46D77A10}" type="parTrans" cxnId="{C3DF4515-CCE6-4814-B7F4-CC057741B49D}">
      <dgm:prSet/>
      <dgm:spPr/>
      <dgm:t>
        <a:bodyPr/>
        <a:lstStyle/>
        <a:p>
          <a:endParaRPr lang="en-US"/>
        </a:p>
      </dgm:t>
    </dgm:pt>
    <dgm:pt modelId="{BE6DDDFA-8CB3-493D-A3D4-54B17CC6CB01}" type="sibTrans" cxnId="{C3DF4515-CCE6-4814-B7F4-CC057741B49D}">
      <dgm:prSet/>
      <dgm:spPr/>
      <dgm:t>
        <a:bodyPr/>
        <a:lstStyle/>
        <a:p>
          <a:endParaRPr lang="en-US"/>
        </a:p>
      </dgm:t>
    </dgm:pt>
    <dgm:pt modelId="{8CC8C498-86B1-4C51-A49B-2C198378FE24}">
      <dgm:prSet/>
      <dgm:spPr/>
      <dgm:t>
        <a:bodyPr/>
        <a:lstStyle/>
        <a:p>
          <a:r>
            <a:rPr lang="en-US" b="0" i="0"/>
            <a:t>You may identify patients to ask if they want to work with your QI team as a Patient Partner through Respectful Care Breakfasts</a:t>
          </a:r>
          <a:endParaRPr lang="en-US"/>
        </a:p>
      </dgm:t>
    </dgm:pt>
    <dgm:pt modelId="{502E292A-3A6C-43EA-946B-73B2CE278B2B}" type="parTrans" cxnId="{F39CDD8B-913A-407A-ABC4-EB7A14222C50}">
      <dgm:prSet/>
      <dgm:spPr/>
      <dgm:t>
        <a:bodyPr/>
        <a:lstStyle/>
        <a:p>
          <a:endParaRPr lang="en-US"/>
        </a:p>
      </dgm:t>
    </dgm:pt>
    <dgm:pt modelId="{046A2DC6-5C59-4C42-821B-1FE876BFE9F7}" type="sibTrans" cxnId="{F39CDD8B-913A-407A-ABC4-EB7A14222C50}">
      <dgm:prSet/>
      <dgm:spPr/>
      <dgm:t>
        <a:bodyPr/>
        <a:lstStyle/>
        <a:p>
          <a:endParaRPr lang="en-US"/>
        </a:p>
      </dgm:t>
    </dgm:pt>
    <dgm:pt modelId="{9E1EBA6A-2061-4B15-A441-0DC7AB803A5A}" type="pres">
      <dgm:prSet presAssocID="{28A6A0CE-A49E-43EA-8385-F50B65FD0078}" presName="Name0" presStyleCnt="0">
        <dgm:presLayoutVars>
          <dgm:dir/>
          <dgm:animLvl val="lvl"/>
          <dgm:resizeHandles val="exact"/>
        </dgm:presLayoutVars>
      </dgm:prSet>
      <dgm:spPr/>
    </dgm:pt>
    <dgm:pt modelId="{3D4DD260-81DC-4AEA-85A1-F579EA8BD199}" type="pres">
      <dgm:prSet presAssocID="{B02E652C-15D7-4BAB-836E-47BECA3095F6}" presName="boxAndChildren" presStyleCnt="0"/>
      <dgm:spPr/>
    </dgm:pt>
    <dgm:pt modelId="{B30C7E44-377A-4C7C-8A13-3B877BAB52A6}" type="pres">
      <dgm:prSet presAssocID="{B02E652C-15D7-4BAB-836E-47BECA3095F6}" presName="parentTextBox" presStyleLbl="node1" presStyleIdx="0" presStyleCnt="2"/>
      <dgm:spPr/>
    </dgm:pt>
    <dgm:pt modelId="{89645D4E-5E27-4031-861C-C2A3A9E1AE9C}" type="pres">
      <dgm:prSet presAssocID="{B02E652C-15D7-4BAB-836E-47BECA3095F6}" presName="entireBox" presStyleLbl="node1" presStyleIdx="0" presStyleCnt="2"/>
      <dgm:spPr/>
    </dgm:pt>
    <dgm:pt modelId="{4F47ECE0-C031-40C6-B9F3-02A3F205F152}" type="pres">
      <dgm:prSet presAssocID="{B02E652C-15D7-4BAB-836E-47BECA3095F6}" presName="descendantBox" presStyleCnt="0"/>
      <dgm:spPr/>
    </dgm:pt>
    <dgm:pt modelId="{52547F60-D7D3-4A35-965A-088A447DA7FA}" type="pres">
      <dgm:prSet presAssocID="{8CC8C498-86B1-4C51-A49B-2C198378FE24}" presName="childTextBox" presStyleLbl="fgAccFollowNode1" presStyleIdx="0" presStyleCnt="4">
        <dgm:presLayoutVars>
          <dgm:bulletEnabled val="1"/>
        </dgm:presLayoutVars>
      </dgm:prSet>
      <dgm:spPr/>
    </dgm:pt>
    <dgm:pt modelId="{7269B607-19AF-4B53-9EAB-2B88C43DB761}" type="pres">
      <dgm:prSet presAssocID="{9A5DC4A6-E43E-4DE4-9B0F-3ADDA482407F}" presName="sp" presStyleCnt="0"/>
      <dgm:spPr/>
    </dgm:pt>
    <dgm:pt modelId="{CB0D03D1-E808-4E51-977C-0D72F61705ED}" type="pres">
      <dgm:prSet presAssocID="{CEF4B4F2-2C71-47FD-9D98-EC7D881AF439}" presName="arrowAndChildren" presStyleCnt="0"/>
      <dgm:spPr/>
    </dgm:pt>
    <dgm:pt modelId="{B412F495-2561-4D35-91CD-F1BB19688A30}" type="pres">
      <dgm:prSet presAssocID="{CEF4B4F2-2C71-47FD-9D98-EC7D881AF439}" presName="parentTextArrow" presStyleLbl="node1" presStyleIdx="0" presStyleCnt="2"/>
      <dgm:spPr/>
    </dgm:pt>
    <dgm:pt modelId="{F6CCDC02-B1BA-45B9-9789-6398F0B481B6}" type="pres">
      <dgm:prSet presAssocID="{CEF4B4F2-2C71-47FD-9D98-EC7D881AF439}" presName="arrow" presStyleLbl="node1" presStyleIdx="1" presStyleCnt="2"/>
      <dgm:spPr/>
    </dgm:pt>
    <dgm:pt modelId="{AF55F471-CF66-46D5-80F2-963CF74CC82F}" type="pres">
      <dgm:prSet presAssocID="{CEF4B4F2-2C71-47FD-9D98-EC7D881AF439}" presName="descendantArrow" presStyleCnt="0"/>
      <dgm:spPr/>
    </dgm:pt>
    <dgm:pt modelId="{69B11234-0723-48EC-A547-21BF8327709C}" type="pres">
      <dgm:prSet presAssocID="{6F1EA786-B662-4E24-83F4-9B10B6A28695}" presName="childTextArrow" presStyleLbl="fgAccFollowNode1" presStyleIdx="1" presStyleCnt="4">
        <dgm:presLayoutVars>
          <dgm:bulletEnabled val="1"/>
        </dgm:presLayoutVars>
      </dgm:prSet>
      <dgm:spPr/>
    </dgm:pt>
    <dgm:pt modelId="{5EC6F11A-382F-4ECA-9750-5AF13FFC3130}" type="pres">
      <dgm:prSet presAssocID="{DE84B402-98A8-4E57-B17C-AA705A44EF4B}" presName="childTextArrow" presStyleLbl="fgAccFollowNode1" presStyleIdx="2" presStyleCnt="4">
        <dgm:presLayoutVars>
          <dgm:bulletEnabled val="1"/>
        </dgm:presLayoutVars>
      </dgm:prSet>
      <dgm:spPr/>
    </dgm:pt>
    <dgm:pt modelId="{0F531E8C-2AC3-4A97-BAF1-73B4B1972F16}" type="pres">
      <dgm:prSet presAssocID="{4880075B-D69D-4874-8A48-C21126D70089}" presName="childTextArrow" presStyleLbl="fgAccFollowNode1" presStyleIdx="3" presStyleCnt="4">
        <dgm:presLayoutVars>
          <dgm:bulletEnabled val="1"/>
        </dgm:presLayoutVars>
      </dgm:prSet>
      <dgm:spPr/>
    </dgm:pt>
  </dgm:ptLst>
  <dgm:cxnLst>
    <dgm:cxn modelId="{E0386610-E5A6-47A3-9056-0AEB93510FBA}" type="presOf" srcId="{6F1EA786-B662-4E24-83F4-9B10B6A28695}" destId="{69B11234-0723-48EC-A547-21BF8327709C}" srcOrd="0" destOrd="0" presId="urn:microsoft.com/office/officeart/2005/8/layout/process4"/>
    <dgm:cxn modelId="{0DF13312-F21E-4B4B-8743-C0A2E2DCAD6D}" srcId="{CEF4B4F2-2C71-47FD-9D98-EC7D881AF439}" destId="{DE84B402-98A8-4E57-B17C-AA705A44EF4B}" srcOrd="1" destOrd="0" parTransId="{37319429-2FAF-4D0D-B75D-8B1187584A69}" sibTransId="{305AA0CC-2200-4BED-BF6B-912562374908}"/>
    <dgm:cxn modelId="{C3DF4515-CCE6-4814-B7F4-CC057741B49D}" srcId="{28A6A0CE-A49E-43EA-8385-F50B65FD0078}" destId="{B02E652C-15D7-4BAB-836E-47BECA3095F6}" srcOrd="1" destOrd="0" parTransId="{FEB49B93-4B45-48FD-9528-43DE46D77A10}" sibTransId="{BE6DDDFA-8CB3-493D-A3D4-54B17CC6CB01}"/>
    <dgm:cxn modelId="{48032328-01C5-4304-8D24-C31904A2AC67}" srcId="{CEF4B4F2-2C71-47FD-9D98-EC7D881AF439}" destId="{4880075B-D69D-4874-8A48-C21126D70089}" srcOrd="2" destOrd="0" parTransId="{B93A8070-D945-4AD4-B3A6-0248F49CF3CB}" sibTransId="{42305965-A38B-408D-A113-7E2885FC024D}"/>
    <dgm:cxn modelId="{358DFC2C-7D63-42DD-A593-ED3C16580663}" type="presOf" srcId="{CEF4B4F2-2C71-47FD-9D98-EC7D881AF439}" destId="{B412F495-2561-4D35-91CD-F1BB19688A30}" srcOrd="0" destOrd="0" presId="urn:microsoft.com/office/officeart/2005/8/layout/process4"/>
    <dgm:cxn modelId="{1A6FA33E-5438-4D65-B6D8-8DD5DB76A7DB}" type="presOf" srcId="{B02E652C-15D7-4BAB-836E-47BECA3095F6}" destId="{B30C7E44-377A-4C7C-8A13-3B877BAB52A6}" srcOrd="0" destOrd="0" presId="urn:microsoft.com/office/officeart/2005/8/layout/process4"/>
    <dgm:cxn modelId="{3A9C985A-F252-4261-8C15-A69FFF98DE29}" type="presOf" srcId="{DE84B402-98A8-4E57-B17C-AA705A44EF4B}" destId="{5EC6F11A-382F-4ECA-9750-5AF13FFC3130}" srcOrd="0" destOrd="0" presId="urn:microsoft.com/office/officeart/2005/8/layout/process4"/>
    <dgm:cxn modelId="{45E2E188-BF8B-4B9E-812D-23EE7B55C9F6}" srcId="{CEF4B4F2-2C71-47FD-9D98-EC7D881AF439}" destId="{6F1EA786-B662-4E24-83F4-9B10B6A28695}" srcOrd="0" destOrd="0" parTransId="{5FA6DF19-F0A4-4A61-A03B-A8249EC3B60A}" sibTransId="{2BB0E5B0-8092-442E-8EC8-D5EB5EDB91EA}"/>
    <dgm:cxn modelId="{F39CDD8B-913A-407A-ABC4-EB7A14222C50}" srcId="{B02E652C-15D7-4BAB-836E-47BECA3095F6}" destId="{8CC8C498-86B1-4C51-A49B-2C198378FE24}" srcOrd="0" destOrd="0" parTransId="{502E292A-3A6C-43EA-946B-73B2CE278B2B}" sibTransId="{046A2DC6-5C59-4C42-821B-1FE876BFE9F7}"/>
    <dgm:cxn modelId="{2D1FA9AF-936F-409D-9DEC-55369527887E}" type="presOf" srcId="{28A6A0CE-A49E-43EA-8385-F50B65FD0078}" destId="{9E1EBA6A-2061-4B15-A441-0DC7AB803A5A}" srcOrd="0" destOrd="0" presId="urn:microsoft.com/office/officeart/2005/8/layout/process4"/>
    <dgm:cxn modelId="{1E8EAAB1-C6F3-4A27-AAC2-1E7748565A7D}" srcId="{28A6A0CE-A49E-43EA-8385-F50B65FD0078}" destId="{CEF4B4F2-2C71-47FD-9D98-EC7D881AF439}" srcOrd="0" destOrd="0" parTransId="{7CD1BE71-7013-46BF-AAD7-DDAACFBC50D1}" sibTransId="{9A5DC4A6-E43E-4DE4-9B0F-3ADDA482407F}"/>
    <dgm:cxn modelId="{4CBBAFB6-51B2-4205-9283-FD84B504BBBA}" type="presOf" srcId="{CEF4B4F2-2C71-47FD-9D98-EC7D881AF439}" destId="{F6CCDC02-B1BA-45B9-9789-6398F0B481B6}" srcOrd="1" destOrd="0" presId="urn:microsoft.com/office/officeart/2005/8/layout/process4"/>
    <dgm:cxn modelId="{F09A0FD1-13CB-4E20-8518-5C8765A97E7E}" type="presOf" srcId="{4880075B-D69D-4874-8A48-C21126D70089}" destId="{0F531E8C-2AC3-4A97-BAF1-73B4B1972F16}" srcOrd="0" destOrd="0" presId="urn:microsoft.com/office/officeart/2005/8/layout/process4"/>
    <dgm:cxn modelId="{1B3F05F8-7D18-4658-BD79-4F917B9BB89A}" type="presOf" srcId="{8CC8C498-86B1-4C51-A49B-2C198378FE24}" destId="{52547F60-D7D3-4A35-965A-088A447DA7FA}" srcOrd="0" destOrd="0" presId="urn:microsoft.com/office/officeart/2005/8/layout/process4"/>
    <dgm:cxn modelId="{BCA435FE-6DC4-4176-BE7B-BE737B2BEF44}" type="presOf" srcId="{B02E652C-15D7-4BAB-836E-47BECA3095F6}" destId="{89645D4E-5E27-4031-861C-C2A3A9E1AE9C}" srcOrd="1" destOrd="0" presId="urn:microsoft.com/office/officeart/2005/8/layout/process4"/>
    <dgm:cxn modelId="{64224FDD-DCB3-42B6-8772-0A97CAC2C9E7}" type="presParOf" srcId="{9E1EBA6A-2061-4B15-A441-0DC7AB803A5A}" destId="{3D4DD260-81DC-4AEA-85A1-F579EA8BD199}" srcOrd="0" destOrd="0" presId="urn:microsoft.com/office/officeart/2005/8/layout/process4"/>
    <dgm:cxn modelId="{F84B68D7-5B44-4675-9E5B-AA57BE626DB1}" type="presParOf" srcId="{3D4DD260-81DC-4AEA-85A1-F579EA8BD199}" destId="{B30C7E44-377A-4C7C-8A13-3B877BAB52A6}" srcOrd="0" destOrd="0" presId="urn:microsoft.com/office/officeart/2005/8/layout/process4"/>
    <dgm:cxn modelId="{6632D0B5-408F-475A-A56B-242DE8C99992}" type="presParOf" srcId="{3D4DD260-81DC-4AEA-85A1-F579EA8BD199}" destId="{89645D4E-5E27-4031-861C-C2A3A9E1AE9C}" srcOrd="1" destOrd="0" presId="urn:microsoft.com/office/officeart/2005/8/layout/process4"/>
    <dgm:cxn modelId="{C964DA1D-62BA-45D4-95BF-35775CA403E2}" type="presParOf" srcId="{3D4DD260-81DC-4AEA-85A1-F579EA8BD199}" destId="{4F47ECE0-C031-40C6-B9F3-02A3F205F152}" srcOrd="2" destOrd="0" presId="urn:microsoft.com/office/officeart/2005/8/layout/process4"/>
    <dgm:cxn modelId="{EA1421F2-A338-4C82-B9C9-738DF4F915F4}" type="presParOf" srcId="{4F47ECE0-C031-40C6-B9F3-02A3F205F152}" destId="{52547F60-D7D3-4A35-965A-088A447DA7FA}" srcOrd="0" destOrd="0" presId="urn:microsoft.com/office/officeart/2005/8/layout/process4"/>
    <dgm:cxn modelId="{447FCD0E-D854-4F5B-9977-0BB5D6B9E680}" type="presParOf" srcId="{9E1EBA6A-2061-4B15-A441-0DC7AB803A5A}" destId="{7269B607-19AF-4B53-9EAB-2B88C43DB761}" srcOrd="1" destOrd="0" presId="urn:microsoft.com/office/officeart/2005/8/layout/process4"/>
    <dgm:cxn modelId="{2EAC5903-DF0E-4338-9BBA-5ED1EC7C5AED}" type="presParOf" srcId="{9E1EBA6A-2061-4B15-A441-0DC7AB803A5A}" destId="{CB0D03D1-E808-4E51-977C-0D72F61705ED}" srcOrd="2" destOrd="0" presId="urn:microsoft.com/office/officeart/2005/8/layout/process4"/>
    <dgm:cxn modelId="{573363D9-8195-42DF-906E-CA5D59E75CAB}" type="presParOf" srcId="{CB0D03D1-E808-4E51-977C-0D72F61705ED}" destId="{B412F495-2561-4D35-91CD-F1BB19688A30}" srcOrd="0" destOrd="0" presId="urn:microsoft.com/office/officeart/2005/8/layout/process4"/>
    <dgm:cxn modelId="{11904AF3-8F4C-4265-A514-A9F23A6021A9}" type="presParOf" srcId="{CB0D03D1-E808-4E51-977C-0D72F61705ED}" destId="{F6CCDC02-B1BA-45B9-9789-6398F0B481B6}" srcOrd="1" destOrd="0" presId="urn:microsoft.com/office/officeart/2005/8/layout/process4"/>
    <dgm:cxn modelId="{6036BE1B-61D5-40F2-B955-4F428AA995AF}" type="presParOf" srcId="{CB0D03D1-E808-4E51-977C-0D72F61705ED}" destId="{AF55F471-CF66-46D5-80F2-963CF74CC82F}" srcOrd="2" destOrd="0" presId="urn:microsoft.com/office/officeart/2005/8/layout/process4"/>
    <dgm:cxn modelId="{AFCBAD18-B064-43E2-852E-2325C94E6D35}" type="presParOf" srcId="{AF55F471-CF66-46D5-80F2-963CF74CC82F}" destId="{69B11234-0723-48EC-A547-21BF8327709C}" srcOrd="0" destOrd="0" presId="urn:microsoft.com/office/officeart/2005/8/layout/process4"/>
    <dgm:cxn modelId="{89A4CC34-74A8-4B12-92AE-68E33621A57D}" type="presParOf" srcId="{AF55F471-CF66-46D5-80F2-963CF74CC82F}" destId="{5EC6F11A-382F-4ECA-9750-5AF13FFC3130}" srcOrd="1" destOrd="0" presId="urn:microsoft.com/office/officeart/2005/8/layout/process4"/>
    <dgm:cxn modelId="{7A74CF74-8463-45A4-BBEE-A215B0397BD2}" type="presParOf" srcId="{AF55F471-CF66-46D5-80F2-963CF74CC82F}" destId="{0F531E8C-2AC3-4A97-BAF1-73B4B1972F16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0DCD73-D9EB-48A2-B4B9-D54A49AE434B}" type="doc">
      <dgm:prSet loTypeId="urn:microsoft.com/office/officeart/2005/8/layout/process4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88F3025-A479-45AF-AAFA-72506A0E81D4}">
      <dgm:prSet/>
      <dgm:spPr/>
      <dgm:t>
        <a:bodyPr/>
        <a:lstStyle/>
        <a:p>
          <a:r>
            <a:rPr lang="en-US" b="0" i="0"/>
            <a:t>You will be recognized as a patient engagement leader if:</a:t>
          </a:r>
          <a:endParaRPr lang="en-US"/>
        </a:p>
      </dgm:t>
    </dgm:pt>
    <dgm:pt modelId="{43469113-C18F-4214-B8B3-562AB1568EE8}" type="parTrans" cxnId="{C57BD96C-06D1-4D8E-B098-8D28A33F7464}">
      <dgm:prSet/>
      <dgm:spPr/>
      <dgm:t>
        <a:bodyPr/>
        <a:lstStyle/>
        <a:p>
          <a:endParaRPr lang="en-US"/>
        </a:p>
      </dgm:t>
    </dgm:pt>
    <dgm:pt modelId="{666EDEF6-3B33-4ED8-861E-73667C8C6491}" type="sibTrans" cxnId="{C57BD96C-06D1-4D8E-B098-8D28A33F7464}">
      <dgm:prSet/>
      <dgm:spPr/>
      <dgm:t>
        <a:bodyPr/>
        <a:lstStyle/>
        <a:p>
          <a:endParaRPr lang="en-US"/>
        </a:p>
      </dgm:t>
    </dgm:pt>
    <dgm:pt modelId="{74B03B36-8A6A-45D5-8C8A-80F9B5A63ABF}">
      <dgm:prSet/>
      <dgm:spPr/>
      <dgm:t>
        <a:bodyPr/>
        <a:lstStyle/>
        <a:p>
          <a:pPr rtl="0"/>
          <a:r>
            <a:rPr lang="en-US" b="0" i="0"/>
            <a:t>You hosted a respectful care </a:t>
          </a:r>
          <a:r>
            <a:rPr lang="en-US" b="0" i="0">
              <a:latin typeface="Calibri" panose="020F0502020204030204"/>
            </a:rPr>
            <a:t>breakfast</a:t>
          </a:r>
          <a:endParaRPr lang="en-US"/>
        </a:p>
      </dgm:t>
    </dgm:pt>
    <dgm:pt modelId="{CCF1B2C1-BD1D-483A-86B5-EE72445BF3CB}" type="parTrans" cxnId="{97A6A675-C6ED-43BC-9E92-F76009651B14}">
      <dgm:prSet/>
      <dgm:spPr/>
      <dgm:t>
        <a:bodyPr/>
        <a:lstStyle/>
        <a:p>
          <a:endParaRPr lang="en-US"/>
        </a:p>
      </dgm:t>
    </dgm:pt>
    <dgm:pt modelId="{43B411B0-2C93-481D-A407-E38762876134}" type="sibTrans" cxnId="{97A6A675-C6ED-43BC-9E92-F76009651B14}">
      <dgm:prSet/>
      <dgm:spPr/>
      <dgm:t>
        <a:bodyPr/>
        <a:lstStyle/>
        <a:p>
          <a:endParaRPr lang="en-US"/>
        </a:p>
      </dgm:t>
    </dgm:pt>
    <dgm:pt modelId="{0DD31838-6975-464A-8637-D19251425CAA}">
      <dgm:prSet/>
      <dgm:spPr/>
      <dgm:t>
        <a:bodyPr/>
        <a:lstStyle/>
        <a:p>
          <a:r>
            <a:rPr lang="en-US" b="0" i="0"/>
            <a:t>You have identified a patient partner for your QI team</a:t>
          </a:r>
          <a:endParaRPr lang="en-US"/>
        </a:p>
      </dgm:t>
    </dgm:pt>
    <dgm:pt modelId="{C5DBE15A-85A3-46D2-9BE4-A83E2245B9F0}" type="parTrans" cxnId="{4F22EDBA-784A-40FB-BAED-828DDA949654}">
      <dgm:prSet/>
      <dgm:spPr/>
      <dgm:t>
        <a:bodyPr/>
        <a:lstStyle/>
        <a:p>
          <a:endParaRPr lang="en-US"/>
        </a:p>
      </dgm:t>
    </dgm:pt>
    <dgm:pt modelId="{8BB27C60-380E-44CE-A744-9D8565704DD7}" type="sibTrans" cxnId="{4F22EDBA-784A-40FB-BAED-828DDA949654}">
      <dgm:prSet/>
      <dgm:spPr/>
      <dgm:t>
        <a:bodyPr/>
        <a:lstStyle/>
        <a:p>
          <a:endParaRPr lang="en-US"/>
        </a:p>
      </dgm:t>
    </dgm:pt>
    <dgm:pt modelId="{EF6D109F-9F13-439B-9247-BCC293850A98}">
      <dgm:prSet/>
      <dgm:spPr/>
      <dgm:t>
        <a:bodyPr/>
        <a:lstStyle/>
        <a:p>
          <a:r>
            <a:rPr lang="en-US" b="0" i="0"/>
            <a:t>Reach out to ILPQC with the name of your patient partner</a:t>
          </a:r>
          <a:endParaRPr lang="en-US"/>
        </a:p>
      </dgm:t>
    </dgm:pt>
    <dgm:pt modelId="{0CE58DD5-D505-4A26-94BF-ADC85BEE29FF}" type="parTrans" cxnId="{8DB75D56-00D8-4AB1-B90B-C9CA6D805645}">
      <dgm:prSet/>
      <dgm:spPr/>
      <dgm:t>
        <a:bodyPr/>
        <a:lstStyle/>
        <a:p>
          <a:endParaRPr lang="en-US"/>
        </a:p>
      </dgm:t>
    </dgm:pt>
    <dgm:pt modelId="{47115F39-28CF-4BFC-9F49-D560282E5ABF}" type="sibTrans" cxnId="{8DB75D56-00D8-4AB1-B90B-C9CA6D805645}">
      <dgm:prSet/>
      <dgm:spPr/>
      <dgm:t>
        <a:bodyPr/>
        <a:lstStyle/>
        <a:p>
          <a:endParaRPr lang="en-US"/>
        </a:p>
      </dgm:t>
    </dgm:pt>
    <dgm:pt modelId="{9739B4C4-B1FA-40AF-91DB-D440E5710B73}">
      <dgm:prSet/>
      <dgm:spPr/>
      <dgm:t>
        <a:bodyPr/>
        <a:lstStyle/>
        <a:p>
          <a:r>
            <a:rPr lang="en-US" b="0" i="0" dirty="0"/>
            <a:t>ILPQC will organize a patient partner training!</a:t>
          </a:r>
          <a:endParaRPr lang="en-US" dirty="0"/>
        </a:p>
      </dgm:t>
    </dgm:pt>
    <dgm:pt modelId="{79FFF30E-E165-4BF0-B3BC-9F273310F1BD}" type="parTrans" cxnId="{14DEDD98-E566-4DD2-8CC6-C076E00FCD60}">
      <dgm:prSet/>
      <dgm:spPr/>
      <dgm:t>
        <a:bodyPr/>
        <a:lstStyle/>
        <a:p>
          <a:endParaRPr lang="en-US"/>
        </a:p>
      </dgm:t>
    </dgm:pt>
    <dgm:pt modelId="{9EB1E88C-72E6-4EA2-84ED-8380BE53F6BE}" type="sibTrans" cxnId="{14DEDD98-E566-4DD2-8CC6-C076E00FCD60}">
      <dgm:prSet/>
      <dgm:spPr/>
      <dgm:t>
        <a:bodyPr/>
        <a:lstStyle/>
        <a:p>
          <a:endParaRPr lang="en-US"/>
        </a:p>
      </dgm:t>
    </dgm:pt>
    <dgm:pt modelId="{DBE2FB80-A2B9-4EA9-8440-C64DB1E6AE33}">
      <dgm:prSet phldr="0"/>
      <dgm:spPr/>
      <dgm:t>
        <a:bodyPr/>
        <a:lstStyle/>
        <a:p>
          <a:pPr rtl="0"/>
          <a:r>
            <a:rPr lang="en-US" b="0" i="0">
              <a:latin typeface="Calibri" panose="020F0502020204030204"/>
            </a:rPr>
            <a:t>Post-event survey submitted by attendees</a:t>
          </a:r>
        </a:p>
      </dgm:t>
    </dgm:pt>
    <dgm:pt modelId="{2710DCED-BD7C-4202-AFC6-310D161DBC69}" type="parTrans" cxnId="{E58F975E-3711-4F7A-9D88-7EE1CFA9704F}">
      <dgm:prSet/>
      <dgm:spPr/>
      <dgm:t>
        <a:bodyPr/>
        <a:lstStyle/>
        <a:p>
          <a:endParaRPr lang="en-US"/>
        </a:p>
      </dgm:t>
    </dgm:pt>
    <dgm:pt modelId="{5CE5995A-4F14-4823-B866-6F381EFF1A2C}" type="sibTrans" cxnId="{E58F975E-3711-4F7A-9D88-7EE1CFA9704F}">
      <dgm:prSet/>
      <dgm:spPr/>
      <dgm:t>
        <a:bodyPr/>
        <a:lstStyle/>
        <a:p>
          <a:endParaRPr lang="en-US"/>
        </a:p>
      </dgm:t>
    </dgm:pt>
    <dgm:pt modelId="{C885B3E2-1E88-4D48-8524-F5F42FAD6A1E}" type="pres">
      <dgm:prSet presAssocID="{5F0DCD73-D9EB-48A2-B4B9-D54A49AE434B}" presName="Name0" presStyleCnt="0">
        <dgm:presLayoutVars>
          <dgm:dir/>
          <dgm:animLvl val="lvl"/>
          <dgm:resizeHandles val="exact"/>
        </dgm:presLayoutVars>
      </dgm:prSet>
      <dgm:spPr/>
    </dgm:pt>
    <dgm:pt modelId="{E2AC3048-7A2A-444C-AB22-922C2DB25FB7}" type="pres">
      <dgm:prSet presAssocID="{C88F3025-A479-45AF-AAFA-72506A0E81D4}" presName="boxAndChildren" presStyleCnt="0"/>
      <dgm:spPr/>
    </dgm:pt>
    <dgm:pt modelId="{B1F1B969-12E9-46E5-9057-109A19910533}" type="pres">
      <dgm:prSet presAssocID="{C88F3025-A479-45AF-AAFA-72506A0E81D4}" presName="parentTextBox" presStyleLbl="node1" presStyleIdx="0" presStyleCnt="1"/>
      <dgm:spPr/>
    </dgm:pt>
    <dgm:pt modelId="{F84A3D09-9CFF-4B9C-A8FC-4D4FE2F05E83}" type="pres">
      <dgm:prSet presAssocID="{C88F3025-A479-45AF-AAFA-72506A0E81D4}" presName="entireBox" presStyleLbl="node1" presStyleIdx="0" presStyleCnt="1"/>
      <dgm:spPr/>
    </dgm:pt>
    <dgm:pt modelId="{0E3732D4-0309-4E09-B593-BFA7F3D7B71F}" type="pres">
      <dgm:prSet presAssocID="{C88F3025-A479-45AF-AAFA-72506A0E81D4}" presName="descendantBox" presStyleCnt="0"/>
      <dgm:spPr/>
    </dgm:pt>
    <dgm:pt modelId="{34708C8D-AF4E-4771-A8AD-718A52A41674}" type="pres">
      <dgm:prSet presAssocID="{74B03B36-8A6A-45D5-8C8A-80F9B5A63ABF}" presName="childTextBox" presStyleLbl="fgAccFollowNode1" presStyleIdx="0" presStyleCnt="2">
        <dgm:presLayoutVars>
          <dgm:bulletEnabled val="1"/>
        </dgm:presLayoutVars>
      </dgm:prSet>
      <dgm:spPr/>
    </dgm:pt>
    <dgm:pt modelId="{89E770FF-C28B-45DF-9F48-99FF650E5EDD}" type="pres">
      <dgm:prSet presAssocID="{0DD31838-6975-464A-8637-D19251425CAA}" presName="childTextBox" presStyleLbl="fgAccFollowNode1" presStyleIdx="1" presStyleCnt="2">
        <dgm:presLayoutVars>
          <dgm:bulletEnabled val="1"/>
        </dgm:presLayoutVars>
      </dgm:prSet>
      <dgm:spPr/>
    </dgm:pt>
  </dgm:ptLst>
  <dgm:cxnLst>
    <dgm:cxn modelId="{0336FA1C-A7F4-4C36-87A3-5FBB81BD7174}" type="presOf" srcId="{74B03B36-8A6A-45D5-8C8A-80F9B5A63ABF}" destId="{34708C8D-AF4E-4771-A8AD-718A52A41674}" srcOrd="0" destOrd="0" presId="urn:microsoft.com/office/officeart/2005/8/layout/process4"/>
    <dgm:cxn modelId="{E58F975E-3711-4F7A-9D88-7EE1CFA9704F}" srcId="{74B03B36-8A6A-45D5-8C8A-80F9B5A63ABF}" destId="{DBE2FB80-A2B9-4EA9-8440-C64DB1E6AE33}" srcOrd="0" destOrd="0" parTransId="{2710DCED-BD7C-4202-AFC6-310D161DBC69}" sibTransId="{5CE5995A-4F14-4823-B866-6F381EFF1A2C}"/>
    <dgm:cxn modelId="{A32C8443-19E4-479D-B5CE-32F78479BC2D}" type="presOf" srcId="{C88F3025-A479-45AF-AAFA-72506A0E81D4}" destId="{B1F1B969-12E9-46E5-9057-109A19910533}" srcOrd="0" destOrd="0" presId="urn:microsoft.com/office/officeart/2005/8/layout/process4"/>
    <dgm:cxn modelId="{C57BD96C-06D1-4D8E-B098-8D28A33F7464}" srcId="{5F0DCD73-D9EB-48A2-B4B9-D54A49AE434B}" destId="{C88F3025-A479-45AF-AAFA-72506A0E81D4}" srcOrd="0" destOrd="0" parTransId="{43469113-C18F-4214-B8B3-562AB1568EE8}" sibTransId="{666EDEF6-3B33-4ED8-861E-73667C8C6491}"/>
    <dgm:cxn modelId="{6554F94D-73E3-4492-9DA5-1427EC9F2BC6}" type="presOf" srcId="{9739B4C4-B1FA-40AF-91DB-D440E5710B73}" destId="{89E770FF-C28B-45DF-9F48-99FF650E5EDD}" srcOrd="0" destOrd="2" presId="urn:microsoft.com/office/officeart/2005/8/layout/process4"/>
    <dgm:cxn modelId="{97A6A675-C6ED-43BC-9E92-F76009651B14}" srcId="{C88F3025-A479-45AF-AAFA-72506A0E81D4}" destId="{74B03B36-8A6A-45D5-8C8A-80F9B5A63ABF}" srcOrd="0" destOrd="0" parTransId="{CCF1B2C1-BD1D-483A-86B5-EE72445BF3CB}" sibTransId="{43B411B0-2C93-481D-A407-E38762876134}"/>
    <dgm:cxn modelId="{8DB75D56-00D8-4AB1-B90B-C9CA6D805645}" srcId="{0DD31838-6975-464A-8637-D19251425CAA}" destId="{EF6D109F-9F13-439B-9247-BCC293850A98}" srcOrd="0" destOrd="0" parTransId="{0CE58DD5-D505-4A26-94BF-ADC85BEE29FF}" sibTransId="{47115F39-28CF-4BFC-9F49-D560282E5ABF}"/>
    <dgm:cxn modelId="{AEB9EC83-B137-4E11-939B-E07B05FF39A1}" type="presOf" srcId="{EF6D109F-9F13-439B-9247-BCC293850A98}" destId="{89E770FF-C28B-45DF-9F48-99FF650E5EDD}" srcOrd="0" destOrd="1" presId="urn:microsoft.com/office/officeart/2005/8/layout/process4"/>
    <dgm:cxn modelId="{BD796596-ED3F-468A-88FA-4BC3F1805973}" type="presOf" srcId="{0DD31838-6975-464A-8637-D19251425CAA}" destId="{89E770FF-C28B-45DF-9F48-99FF650E5EDD}" srcOrd="0" destOrd="0" presId="urn:microsoft.com/office/officeart/2005/8/layout/process4"/>
    <dgm:cxn modelId="{14DEDD98-E566-4DD2-8CC6-C076E00FCD60}" srcId="{0DD31838-6975-464A-8637-D19251425CAA}" destId="{9739B4C4-B1FA-40AF-91DB-D440E5710B73}" srcOrd="1" destOrd="0" parTransId="{79FFF30E-E165-4BF0-B3BC-9F273310F1BD}" sibTransId="{9EB1E88C-72E6-4EA2-84ED-8380BE53F6BE}"/>
    <dgm:cxn modelId="{979860B2-E55B-46BD-BC0B-782191B2DFB9}" type="presOf" srcId="{DBE2FB80-A2B9-4EA9-8440-C64DB1E6AE33}" destId="{34708C8D-AF4E-4771-A8AD-718A52A41674}" srcOrd="0" destOrd="1" presId="urn:microsoft.com/office/officeart/2005/8/layout/process4"/>
    <dgm:cxn modelId="{4F22EDBA-784A-40FB-BAED-828DDA949654}" srcId="{C88F3025-A479-45AF-AAFA-72506A0E81D4}" destId="{0DD31838-6975-464A-8637-D19251425CAA}" srcOrd="1" destOrd="0" parTransId="{C5DBE15A-85A3-46D2-9BE4-A83E2245B9F0}" sibTransId="{8BB27C60-380E-44CE-A744-9D8565704DD7}"/>
    <dgm:cxn modelId="{385AA6F9-8F2C-4607-9403-E72687784A81}" type="presOf" srcId="{5F0DCD73-D9EB-48A2-B4B9-D54A49AE434B}" destId="{C885B3E2-1E88-4D48-8524-F5F42FAD6A1E}" srcOrd="0" destOrd="0" presId="urn:microsoft.com/office/officeart/2005/8/layout/process4"/>
    <dgm:cxn modelId="{213B84FA-B244-42EE-8C2F-0B2E64FB0756}" type="presOf" srcId="{C88F3025-A479-45AF-AAFA-72506A0E81D4}" destId="{F84A3D09-9CFF-4B9C-A8FC-4D4FE2F05E83}" srcOrd="1" destOrd="0" presId="urn:microsoft.com/office/officeart/2005/8/layout/process4"/>
    <dgm:cxn modelId="{A6865507-72D1-4748-8D35-CD18D6E9A422}" type="presParOf" srcId="{C885B3E2-1E88-4D48-8524-F5F42FAD6A1E}" destId="{E2AC3048-7A2A-444C-AB22-922C2DB25FB7}" srcOrd="0" destOrd="0" presId="urn:microsoft.com/office/officeart/2005/8/layout/process4"/>
    <dgm:cxn modelId="{06DC228F-5362-48AF-8C5D-991F2C4F4742}" type="presParOf" srcId="{E2AC3048-7A2A-444C-AB22-922C2DB25FB7}" destId="{B1F1B969-12E9-46E5-9057-109A19910533}" srcOrd="0" destOrd="0" presId="urn:microsoft.com/office/officeart/2005/8/layout/process4"/>
    <dgm:cxn modelId="{F1F971D2-26BA-4ADA-97ED-56DD686EF905}" type="presParOf" srcId="{E2AC3048-7A2A-444C-AB22-922C2DB25FB7}" destId="{F84A3D09-9CFF-4B9C-A8FC-4D4FE2F05E83}" srcOrd="1" destOrd="0" presId="urn:microsoft.com/office/officeart/2005/8/layout/process4"/>
    <dgm:cxn modelId="{FA0C572A-3BEA-4651-9E8D-6E6C32693637}" type="presParOf" srcId="{E2AC3048-7A2A-444C-AB22-922C2DB25FB7}" destId="{0E3732D4-0309-4E09-B593-BFA7F3D7B71F}" srcOrd="2" destOrd="0" presId="urn:microsoft.com/office/officeart/2005/8/layout/process4"/>
    <dgm:cxn modelId="{C3E12660-97C2-46E7-8A9B-206D20475094}" type="presParOf" srcId="{0E3732D4-0309-4E09-B593-BFA7F3D7B71F}" destId="{34708C8D-AF4E-4771-A8AD-718A52A41674}" srcOrd="0" destOrd="0" presId="urn:microsoft.com/office/officeart/2005/8/layout/process4"/>
    <dgm:cxn modelId="{449A686F-549C-48A0-8741-E8851D3B82A2}" type="presParOf" srcId="{0E3732D4-0309-4E09-B593-BFA7F3D7B71F}" destId="{89E770FF-C28B-45DF-9F48-99FF650E5EDD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4BBF04-E0FF-401C-B118-81C890F453CB}">
      <dsp:nvSpPr>
        <dsp:cNvPr id="0" name=""/>
        <dsp:cNvSpPr/>
      </dsp:nvSpPr>
      <dsp:spPr>
        <a:xfrm>
          <a:off x="0" y="675"/>
          <a:ext cx="6900512" cy="1581368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AC9F20-4450-4D9C-811B-9CFD985A02CA}">
      <dsp:nvSpPr>
        <dsp:cNvPr id="0" name=""/>
        <dsp:cNvSpPr/>
      </dsp:nvSpPr>
      <dsp:spPr>
        <a:xfrm>
          <a:off x="478363" y="356483"/>
          <a:ext cx="869752" cy="86975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8B28FA-F976-4114-B8C3-D1D593BA346E}">
      <dsp:nvSpPr>
        <dsp:cNvPr id="0" name=""/>
        <dsp:cNvSpPr/>
      </dsp:nvSpPr>
      <dsp:spPr>
        <a:xfrm>
          <a:off x="1826480" y="675"/>
          <a:ext cx="5074031" cy="15813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361" tIns="167361" rIns="167361" bIns="167361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Have you </a:t>
          </a:r>
          <a:r>
            <a:rPr lang="en-US" sz="2500" b="0" i="0" kern="1200" dirty="0">
              <a:latin typeface="Calibri" panose="020F0502020204030204"/>
            </a:rPr>
            <a:t>identified</a:t>
          </a:r>
          <a:r>
            <a:rPr lang="en-US" sz="2500" kern="1200" dirty="0">
              <a:latin typeface="Calibri" panose="020F0502020204030204"/>
            </a:rPr>
            <a:t> a patient partner yet?</a:t>
          </a:r>
          <a:endParaRPr lang="en-US" sz="2500" kern="1200" dirty="0"/>
        </a:p>
      </dsp:txBody>
      <dsp:txXfrm>
        <a:off x="1826480" y="675"/>
        <a:ext cx="5074031" cy="1581368"/>
      </dsp:txXfrm>
    </dsp:sp>
    <dsp:sp modelId="{E6556BD7-E528-43B1-9FAA-4666EA70AC23}">
      <dsp:nvSpPr>
        <dsp:cNvPr id="0" name=""/>
        <dsp:cNvSpPr/>
      </dsp:nvSpPr>
      <dsp:spPr>
        <a:xfrm>
          <a:off x="0" y="1977386"/>
          <a:ext cx="6900512" cy="158136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D75FEC-82AD-493D-83BD-4524F0AC95A2}">
      <dsp:nvSpPr>
        <dsp:cNvPr id="0" name=""/>
        <dsp:cNvSpPr/>
      </dsp:nvSpPr>
      <dsp:spPr>
        <a:xfrm>
          <a:off x="478363" y="2333194"/>
          <a:ext cx="869752" cy="86975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64EBE1-2A57-4D88-A573-AED5552D0982}">
      <dsp:nvSpPr>
        <dsp:cNvPr id="0" name=""/>
        <dsp:cNvSpPr/>
      </dsp:nvSpPr>
      <dsp:spPr>
        <a:xfrm>
          <a:off x="1826480" y="1977386"/>
          <a:ext cx="5074031" cy="15813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361" tIns="167361" rIns="167361" bIns="167361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What are some of your identified challenges/barriers to </a:t>
          </a:r>
          <a:r>
            <a:rPr lang="en-US" sz="2500" b="0" i="0" kern="1200" dirty="0">
              <a:latin typeface="Calibri" panose="020F0502020204030204"/>
            </a:rPr>
            <a:t>engaging a</a:t>
          </a:r>
          <a:r>
            <a:rPr lang="en-US" sz="2500" kern="1200" dirty="0">
              <a:latin typeface="Calibri" panose="020F0502020204030204"/>
            </a:rPr>
            <a:t> patient partner?</a:t>
          </a:r>
          <a:endParaRPr lang="en-US" sz="2500" kern="1200" dirty="0"/>
        </a:p>
      </dsp:txBody>
      <dsp:txXfrm>
        <a:off x="1826480" y="1977386"/>
        <a:ext cx="5074031" cy="1581368"/>
      </dsp:txXfrm>
    </dsp:sp>
    <dsp:sp modelId="{237D476A-97CC-45FF-97BC-8C98E85FCBAB}">
      <dsp:nvSpPr>
        <dsp:cNvPr id="0" name=""/>
        <dsp:cNvSpPr/>
      </dsp:nvSpPr>
      <dsp:spPr>
        <a:xfrm>
          <a:off x="0" y="3954096"/>
          <a:ext cx="6900512" cy="158136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6F6652-C316-40D5-AC2A-4F41BF66443B}">
      <dsp:nvSpPr>
        <dsp:cNvPr id="0" name=""/>
        <dsp:cNvSpPr/>
      </dsp:nvSpPr>
      <dsp:spPr>
        <a:xfrm>
          <a:off x="478363" y="4309904"/>
          <a:ext cx="869752" cy="86975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100CC1-52A2-4901-8A23-B2C04CD93B95}">
      <dsp:nvSpPr>
        <dsp:cNvPr id="0" name=""/>
        <dsp:cNvSpPr/>
      </dsp:nvSpPr>
      <dsp:spPr>
        <a:xfrm>
          <a:off x="1826480" y="3954096"/>
          <a:ext cx="5074031" cy="15813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361" tIns="167361" rIns="167361" bIns="167361" numCol="1" spcCol="1270" anchor="ctr" anchorCtr="0">
          <a:noAutofit/>
        </a:bodyPr>
        <a:lstStyle/>
        <a:p>
          <a:pPr marL="0" lvl="0" indent="0" algn="l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What is one step you can take in the next week to move </a:t>
          </a:r>
          <a:r>
            <a:rPr lang="en-US" sz="2500" kern="1200" dirty="0">
              <a:latin typeface="Calibri" panose="020F0502020204030204"/>
            </a:rPr>
            <a:t>this strategy forward?</a:t>
          </a:r>
          <a:endParaRPr lang="en-US" sz="2500" kern="1200" dirty="0"/>
        </a:p>
      </dsp:txBody>
      <dsp:txXfrm>
        <a:off x="1826480" y="3954096"/>
        <a:ext cx="5074031" cy="15813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645D4E-5E27-4031-861C-C2A3A9E1AE9C}">
      <dsp:nvSpPr>
        <dsp:cNvPr id="0" name=""/>
        <dsp:cNvSpPr/>
      </dsp:nvSpPr>
      <dsp:spPr>
        <a:xfrm>
          <a:off x="0" y="3259720"/>
          <a:ext cx="11716108" cy="213872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i="0" kern="1200"/>
            <a:t>Every team to engage a Patient Partner to work with their QI team by 11/2</a:t>
          </a:r>
          <a:endParaRPr lang="en-US" sz="2900" kern="1200"/>
        </a:p>
      </dsp:txBody>
      <dsp:txXfrm>
        <a:off x="0" y="3259720"/>
        <a:ext cx="11716108" cy="1154913"/>
      </dsp:txXfrm>
    </dsp:sp>
    <dsp:sp modelId="{52547F60-D7D3-4A35-965A-088A447DA7FA}">
      <dsp:nvSpPr>
        <dsp:cNvPr id="0" name=""/>
        <dsp:cNvSpPr/>
      </dsp:nvSpPr>
      <dsp:spPr>
        <a:xfrm>
          <a:off x="0" y="4371859"/>
          <a:ext cx="11716108" cy="9838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You may identify patients to ask if they want to work with your QI team as a Patient Partner through Respectful Care Breakfasts</a:t>
          </a:r>
          <a:endParaRPr lang="en-US" sz="1600" kern="1200"/>
        </a:p>
      </dsp:txBody>
      <dsp:txXfrm>
        <a:off x="0" y="4371859"/>
        <a:ext cx="11716108" cy="983815"/>
      </dsp:txXfrm>
    </dsp:sp>
    <dsp:sp modelId="{F6CCDC02-B1BA-45B9-9789-6398F0B481B6}">
      <dsp:nvSpPr>
        <dsp:cNvPr id="0" name=""/>
        <dsp:cNvSpPr/>
      </dsp:nvSpPr>
      <dsp:spPr>
        <a:xfrm rot="10800000">
          <a:off x="0" y="2435"/>
          <a:ext cx="11716108" cy="3289365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i="0" kern="1200"/>
            <a:t>Every team to hold a Respectful Care Breakfast</a:t>
          </a:r>
          <a:r>
            <a:rPr lang="en-US" sz="2900" b="0" i="0" kern="1200">
              <a:latin typeface="Calibri" panose="020F0502020204030204"/>
            </a:rPr>
            <a:t> </a:t>
          </a:r>
          <a:endParaRPr lang="en-US" sz="2900" kern="1200"/>
        </a:p>
      </dsp:txBody>
      <dsp:txXfrm rot="-10800000">
        <a:off x="0" y="2435"/>
        <a:ext cx="11716108" cy="1154567"/>
      </dsp:txXfrm>
    </dsp:sp>
    <dsp:sp modelId="{69B11234-0723-48EC-A547-21BF8327709C}">
      <dsp:nvSpPr>
        <dsp:cNvPr id="0" name=""/>
        <dsp:cNvSpPr/>
      </dsp:nvSpPr>
      <dsp:spPr>
        <a:xfrm>
          <a:off x="5720" y="1157002"/>
          <a:ext cx="3901555" cy="98352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Ask doulas or lactation counselor, midwives/docs to consider patients to invite or ask NICU moms…</a:t>
          </a:r>
          <a:endParaRPr lang="en-US" sz="1600" kern="1200"/>
        </a:p>
      </dsp:txBody>
      <dsp:txXfrm>
        <a:off x="5720" y="1157002"/>
        <a:ext cx="3901555" cy="983520"/>
      </dsp:txXfrm>
    </dsp:sp>
    <dsp:sp modelId="{5EC6F11A-382F-4ECA-9750-5AF13FFC3130}">
      <dsp:nvSpPr>
        <dsp:cNvPr id="0" name=""/>
        <dsp:cNvSpPr/>
      </dsp:nvSpPr>
      <dsp:spPr>
        <a:xfrm>
          <a:off x="3907276" y="1157002"/>
          <a:ext cx="3901555" cy="98352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Celebrate and talk about Respectful Care and strategies to increase Respectful Care Practices (how can we improve shared decision making, active listening)</a:t>
          </a:r>
          <a:endParaRPr lang="en-US" sz="1600" kern="1200"/>
        </a:p>
      </dsp:txBody>
      <dsp:txXfrm>
        <a:off x="3907276" y="1157002"/>
        <a:ext cx="3901555" cy="983520"/>
      </dsp:txXfrm>
    </dsp:sp>
    <dsp:sp modelId="{0F531E8C-2AC3-4A97-BAF1-73B4B1972F16}">
      <dsp:nvSpPr>
        <dsp:cNvPr id="0" name=""/>
        <dsp:cNvSpPr/>
      </dsp:nvSpPr>
      <dsp:spPr>
        <a:xfrm>
          <a:off x="7808831" y="1157002"/>
          <a:ext cx="3901555" cy="98352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Make sure to also invite OB providers / nurses to attend</a:t>
          </a:r>
          <a:r>
            <a:rPr lang="en-US" sz="1600" b="0" i="0" kern="1200">
              <a:latin typeface="Calibri" panose="020F0502020204030204"/>
            </a:rPr>
            <a:t> </a:t>
          </a:r>
          <a:r>
            <a:rPr lang="en-US" sz="1600" b="0" i="0" kern="1200"/>
            <a:t>and use name tags</a:t>
          </a:r>
          <a:r>
            <a:rPr lang="en-US" sz="1600" b="0" i="0" kern="1200">
              <a:latin typeface="Calibri" panose="020F0502020204030204"/>
            </a:rPr>
            <a:t> </a:t>
          </a:r>
          <a:endParaRPr lang="en-US" sz="1600" kern="1200"/>
        </a:p>
      </dsp:txBody>
      <dsp:txXfrm>
        <a:off x="7808831" y="1157002"/>
        <a:ext cx="3901555" cy="9835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4A3D09-9CFF-4B9C-A8FC-4D4FE2F05E83}">
      <dsp:nvSpPr>
        <dsp:cNvPr id="0" name=""/>
        <dsp:cNvSpPr/>
      </dsp:nvSpPr>
      <dsp:spPr>
        <a:xfrm>
          <a:off x="0" y="0"/>
          <a:ext cx="7452360" cy="5459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824" tIns="369824" rIns="369824" bIns="369824" numCol="1" spcCol="1270" anchor="ctr" anchorCtr="0">
          <a:noAutofit/>
        </a:bodyPr>
        <a:lstStyle/>
        <a:p>
          <a:pPr marL="0" lvl="0" indent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b="0" i="0" kern="1200"/>
            <a:t>You will be recognized as a patient engagement leader if:</a:t>
          </a:r>
          <a:endParaRPr lang="en-US" sz="5200" kern="1200"/>
        </a:p>
      </dsp:txBody>
      <dsp:txXfrm>
        <a:off x="0" y="0"/>
        <a:ext cx="7452360" cy="2948241"/>
      </dsp:txXfrm>
    </dsp:sp>
    <dsp:sp modelId="{34708C8D-AF4E-4771-A8AD-718A52A41674}">
      <dsp:nvSpPr>
        <dsp:cNvPr id="0" name=""/>
        <dsp:cNvSpPr/>
      </dsp:nvSpPr>
      <dsp:spPr>
        <a:xfrm>
          <a:off x="0" y="2839047"/>
          <a:ext cx="3726179" cy="251146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i="0" kern="1200"/>
            <a:t>You hosted a respectful care </a:t>
          </a:r>
          <a:r>
            <a:rPr lang="en-US" sz="2600" b="0" i="0" kern="1200">
              <a:latin typeface="Calibri" panose="020F0502020204030204"/>
            </a:rPr>
            <a:t>breakfast</a:t>
          </a:r>
          <a:endParaRPr lang="en-US" sz="2600" kern="120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>
              <a:latin typeface="Calibri" panose="020F0502020204030204"/>
            </a:rPr>
            <a:t>Post-event survey submitted by attendees</a:t>
          </a:r>
        </a:p>
      </dsp:txBody>
      <dsp:txXfrm>
        <a:off x="0" y="2839047"/>
        <a:ext cx="3726179" cy="2511464"/>
      </dsp:txXfrm>
    </dsp:sp>
    <dsp:sp modelId="{89E770FF-C28B-45DF-9F48-99FF650E5EDD}">
      <dsp:nvSpPr>
        <dsp:cNvPr id="0" name=""/>
        <dsp:cNvSpPr/>
      </dsp:nvSpPr>
      <dsp:spPr>
        <a:xfrm>
          <a:off x="3726180" y="2839047"/>
          <a:ext cx="3726179" cy="2511464"/>
        </a:xfrm>
        <a:prstGeom prst="rect">
          <a:avLst/>
        </a:prstGeom>
        <a:solidFill>
          <a:schemeClr val="accent2">
            <a:tint val="40000"/>
            <a:alpha val="90000"/>
            <a:hueOff val="-2039963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2039963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i="0" kern="1200"/>
            <a:t>You have identified a patient partner for your QI team</a:t>
          </a:r>
          <a:endParaRPr lang="en-US" sz="26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/>
            <a:t>Reach out to ILPQC with the name of your patient partner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 dirty="0"/>
            <a:t>ILPQC will organize a patient partner training!</a:t>
          </a:r>
          <a:endParaRPr lang="en-US" sz="2000" kern="1200" dirty="0"/>
        </a:p>
      </dsp:txBody>
      <dsp:txXfrm>
        <a:off x="3726180" y="2839047"/>
        <a:ext cx="3726179" cy="2511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48D16A-082C-43E2-BF52-7A942EE0E163}" type="datetimeFigureOut">
              <a:t>8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0B2070-480A-40E1-A59D-C76AA41A72B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286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5C9F0-2C80-47DF-A05F-1C371CC7B2F0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375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15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2.bin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5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7.bin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4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4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4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4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g"/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83446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6457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85234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144568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54322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46377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536273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76758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331471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7343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24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24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Tag=AccentColor&#10;Flavor=Light&#10;Target=FillAndLine">
            <a:extLst>
              <a:ext uri="{FF2B5EF4-FFF2-40B4-BE49-F238E27FC236}">
                <a16:creationId xmlns:a16="http://schemas.microsoft.com/office/drawing/2014/main" id="{DA381740-063A-41A4-836D-85D14980EEF0}"/>
              </a:ext>
            </a:extLst>
          </p:cNvPr>
          <p:cNvSpPr/>
          <p:nvPr/>
        </p:nvSpPr>
        <p:spPr>
          <a:xfrm>
            <a:off x="838200" y="4736883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EF9DF8-704A-44AE-8850-307DDACC93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248" y="448056"/>
            <a:ext cx="10515600" cy="4069080"/>
          </a:xfrm>
        </p:spPr>
        <p:txBody>
          <a:bodyPr anchor="b">
            <a:noAutofit/>
          </a:bodyPr>
          <a:lstStyle>
            <a:lvl1pPr algn="l">
              <a:defRPr sz="9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C72E09-06F3-48B9-9B95-DE15EC9801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248" y="4983480"/>
            <a:ext cx="10515600" cy="1124712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CD474-E5E1-4D01-97F6-0C9FC0933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6BBC7-EB9B-4B36-88E9-DBF65D270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786C7-DD8D-492F-9A9A-A7B3EBE27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17751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D02BC-5A24-47F7-A4DF-B93FBC0C5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9219E-EE74-4093-94D6-F663E059C5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25196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61642-BFBA-48AE-A29C-C2AA7386A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D2029B-6646-4DBF-A302-76A513FC6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D4DFD-766F-4E45-A00C-2B5E8CE9A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 descr="Tag=AccentColor&#10;Flavor=Light&#10;Target=FillAndLine">
            <a:extLst>
              <a:ext uri="{FF2B5EF4-FFF2-40B4-BE49-F238E27FC236}">
                <a16:creationId xmlns:a16="http://schemas.microsoft.com/office/drawing/2014/main" id="{EBDD1931-9E86-4402-9A68-33A2D9EFB198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18231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218C0-6540-400C-BB51-353D5FD5C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48056"/>
            <a:ext cx="10515600" cy="4069080"/>
          </a:xfrm>
        </p:spPr>
        <p:txBody>
          <a:bodyPr anchor="b">
            <a:normAutofit/>
          </a:bodyPr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1CD69-43B3-4FF7-AA41-30C36C957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248" y="4983480"/>
            <a:ext cx="10515600" cy="1124712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F300D-5CBE-47E9-A193-E23C8314D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7DF3F-C51A-4DB1-9FCE-E3E0D8E92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269CF4-FAAB-44EF-A2A5-8352B4AA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descr="Tag=AccentColor&#10;Flavor=Light&#10;Target=FillAndLine">
            <a:extLst>
              <a:ext uri="{FF2B5EF4-FFF2-40B4-BE49-F238E27FC236}">
                <a16:creationId xmlns:a16="http://schemas.microsoft.com/office/drawing/2014/main" id="{417A8947-4521-4FE1-8E44-27363435CE1B}"/>
              </a:ext>
            </a:extLst>
          </p:cNvPr>
          <p:cNvSpPr/>
          <p:nvPr/>
        </p:nvSpPr>
        <p:spPr>
          <a:xfrm>
            <a:off x="838200" y="4736883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8625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DE264-531D-49C1-A8AF-2B4C1D218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9A1B8-2F1B-46AA-858A-CFFF5AF7CE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29384"/>
            <a:ext cx="5181600" cy="4251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6B9631-18C0-43BD-8AF3-9137D6D4C2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929384"/>
            <a:ext cx="5181600" cy="4251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032FCA-14C6-4497-9C27-3F5806244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1E5057-693B-4E10-958E-0ABE79FEC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0CECB1-0A35-4C10-9D3D-FE4404283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 descr="Tag=AccentColor&#10;Flavor=Light&#10;Target=FillAndLine">
            <a:extLst>
              <a:ext uri="{FF2B5EF4-FFF2-40B4-BE49-F238E27FC236}">
                <a16:creationId xmlns:a16="http://schemas.microsoft.com/office/drawing/2014/main" id="{2FAAC677-2D37-4F63-9C4B-711A2988EE02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35846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AE282-8875-4F49-AB21-E1C2BCAEA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712EA2-EF8C-4F18-BECF-AD121F728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938528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7B59D4-E93F-40C1-A1A2-F1867830C6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26080"/>
            <a:ext cx="5157787" cy="326440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810616-1C77-42AE-8449-D0B64E2B84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938528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74E172-AFE8-48E4-BBB0-CA6D4EC112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26080"/>
            <a:ext cx="5183188" cy="32644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9407CC-270D-4C98-B95C-7AE67D2E1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4070D5-9B7B-47FC-9F75-F6AD96074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28EAC17-33BE-4265-8C06-644C2D34F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 descr="Tag=AccentColor&#10;Flavor=Light&#10;Target=FillAndLine">
            <a:extLst>
              <a:ext uri="{FF2B5EF4-FFF2-40B4-BE49-F238E27FC236}">
                <a16:creationId xmlns:a16="http://schemas.microsoft.com/office/drawing/2014/main" id="{F634C457-AEBF-47D7-9200-BAD05D138B12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41190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EE9AC0-40CD-4451-BF00-5E2FC7B74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704" y="1728216"/>
            <a:ext cx="7781544" cy="3392424"/>
          </a:xfrm>
        </p:spPr>
        <p:txBody>
          <a:bodyPr>
            <a:normAutofit/>
          </a:bodyPr>
          <a:lstStyle>
            <a:lvl1pPr algn="ctr">
              <a:defRPr sz="7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D9A32-9C83-452B-BC69-CC6E95D3C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7B83E-E23E-42DE-876D-F55908A9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C03A8-D428-4010-B413-13B1E9922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6" descr="Tag=AccentColor&#10;Flavor=Light&#10;Target=FillAndLine">
            <a:extLst>
              <a:ext uri="{FF2B5EF4-FFF2-40B4-BE49-F238E27FC236}">
                <a16:creationId xmlns:a16="http://schemas.microsoft.com/office/drawing/2014/main" id="{17F03060-85EC-4182-8C18-C6EE0D373E4B}"/>
              </a:ext>
            </a:extLst>
          </p:cNvPr>
          <p:cNvSpPr/>
          <p:nvPr/>
        </p:nvSpPr>
        <p:spPr>
          <a:xfrm>
            <a:off x="3974206" y="5126892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39308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2816A0-77C4-4A3F-87BD-A7321E3C8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FC3464-F026-4C77-9441-55ECA5054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D9257-BADE-4D0B-AF0B-D09FE95FA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85856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1C48E-F751-45A2-9010-208B81EDB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3429000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501F6-8430-4758-8636-74D68E990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3520" y="548640"/>
            <a:ext cx="6053328" cy="5431536"/>
          </a:xfrm>
        </p:spPr>
        <p:txBody>
          <a:bodyPr anchor="ctr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79DC39-A29C-494C-98B6-999746C5F3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977640"/>
            <a:ext cx="3932237" cy="2002536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4C988-A6DB-469A-B8AA-31866F36E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BC39C3-81EB-4828-9AD3-2F1FAC521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59376C-9810-49A5-BC9A-4E6A02175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6" descr="Tag=AccentColor&#10;Flavor=Light&#10;Target=FillAndLine">
            <a:extLst>
              <a:ext uri="{FF2B5EF4-FFF2-40B4-BE49-F238E27FC236}">
                <a16:creationId xmlns:a16="http://schemas.microsoft.com/office/drawing/2014/main" id="{B9F96F3A-E64D-4401-B02C-BCD5CAA97CFF}"/>
              </a:ext>
            </a:extLst>
          </p:cNvPr>
          <p:cNvSpPr/>
          <p:nvPr/>
        </p:nvSpPr>
        <p:spPr>
          <a:xfrm rot="5400000">
            <a:off x="2797492" y="3254143"/>
            <a:ext cx="4480560" cy="27432"/>
          </a:xfrm>
          <a:custGeom>
            <a:avLst/>
            <a:gdLst>
              <a:gd name="connsiteX0" fmla="*/ 0 w 4480560"/>
              <a:gd name="connsiteY0" fmla="*/ 0 h 27432"/>
              <a:gd name="connsiteX1" fmla="*/ 595274 w 4480560"/>
              <a:gd name="connsiteY1" fmla="*/ 0 h 27432"/>
              <a:gd name="connsiteX2" fmla="*/ 1100938 w 4480560"/>
              <a:gd name="connsiteY2" fmla="*/ 0 h 27432"/>
              <a:gd name="connsiteX3" fmla="*/ 1651406 w 4480560"/>
              <a:gd name="connsiteY3" fmla="*/ 0 h 27432"/>
              <a:gd name="connsiteX4" fmla="*/ 2336292 w 4480560"/>
              <a:gd name="connsiteY4" fmla="*/ 0 h 27432"/>
              <a:gd name="connsiteX5" fmla="*/ 2931566 w 4480560"/>
              <a:gd name="connsiteY5" fmla="*/ 0 h 27432"/>
              <a:gd name="connsiteX6" fmla="*/ 3482035 w 4480560"/>
              <a:gd name="connsiteY6" fmla="*/ 0 h 27432"/>
              <a:gd name="connsiteX7" fmla="*/ 4480560 w 4480560"/>
              <a:gd name="connsiteY7" fmla="*/ 0 h 27432"/>
              <a:gd name="connsiteX8" fmla="*/ 4480560 w 4480560"/>
              <a:gd name="connsiteY8" fmla="*/ 27432 h 27432"/>
              <a:gd name="connsiteX9" fmla="*/ 3840480 w 4480560"/>
              <a:gd name="connsiteY9" fmla="*/ 27432 h 27432"/>
              <a:gd name="connsiteX10" fmla="*/ 3290011 w 4480560"/>
              <a:gd name="connsiteY10" fmla="*/ 27432 h 27432"/>
              <a:gd name="connsiteX11" fmla="*/ 2560320 w 4480560"/>
              <a:gd name="connsiteY11" fmla="*/ 27432 h 27432"/>
              <a:gd name="connsiteX12" fmla="*/ 1965046 w 4480560"/>
              <a:gd name="connsiteY12" fmla="*/ 27432 h 27432"/>
              <a:gd name="connsiteX13" fmla="*/ 1459382 w 4480560"/>
              <a:gd name="connsiteY13" fmla="*/ 27432 h 27432"/>
              <a:gd name="connsiteX14" fmla="*/ 774497 w 4480560"/>
              <a:gd name="connsiteY14" fmla="*/ 27432 h 27432"/>
              <a:gd name="connsiteX15" fmla="*/ 0 w 4480560"/>
              <a:gd name="connsiteY15" fmla="*/ 27432 h 27432"/>
              <a:gd name="connsiteX16" fmla="*/ 0 w 4480560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27432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79587" y="8304"/>
                  <a:pt x="4480082" y="21512"/>
                  <a:pt x="4480560" y="27432"/>
                </a:cubicBezTo>
                <a:cubicBezTo>
                  <a:pt x="4314132" y="24068"/>
                  <a:pt x="4028383" y="45776"/>
                  <a:pt x="3840480" y="27432"/>
                </a:cubicBezTo>
                <a:cubicBezTo>
                  <a:pt x="3652577" y="9088"/>
                  <a:pt x="3547615" y="11992"/>
                  <a:pt x="3290011" y="27432"/>
                </a:cubicBezTo>
                <a:cubicBezTo>
                  <a:pt x="3032407" y="42872"/>
                  <a:pt x="2830268" y="17863"/>
                  <a:pt x="2560320" y="27432"/>
                </a:cubicBezTo>
                <a:cubicBezTo>
                  <a:pt x="2290372" y="37001"/>
                  <a:pt x="2147422" y="15872"/>
                  <a:pt x="1965046" y="27432"/>
                </a:cubicBezTo>
                <a:cubicBezTo>
                  <a:pt x="1782670" y="38992"/>
                  <a:pt x="1689791" y="49824"/>
                  <a:pt x="1459382" y="27432"/>
                </a:cubicBezTo>
                <a:cubicBezTo>
                  <a:pt x="1228973" y="5040"/>
                  <a:pt x="915486" y="45645"/>
                  <a:pt x="774497" y="27432"/>
                </a:cubicBezTo>
                <a:cubicBezTo>
                  <a:pt x="633508" y="9219"/>
                  <a:pt x="361442" y="-1963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480560" h="27432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81045" y="9333"/>
                  <a:pt x="4481838" y="19699"/>
                  <a:pt x="4480560" y="27432"/>
                </a:cubicBezTo>
                <a:cubicBezTo>
                  <a:pt x="4279652" y="2294"/>
                  <a:pt x="4200762" y="50710"/>
                  <a:pt x="3930091" y="27432"/>
                </a:cubicBezTo>
                <a:cubicBezTo>
                  <a:pt x="3659420" y="4154"/>
                  <a:pt x="3456052" y="31438"/>
                  <a:pt x="3290011" y="27432"/>
                </a:cubicBezTo>
                <a:cubicBezTo>
                  <a:pt x="3123970" y="23426"/>
                  <a:pt x="2882392" y="41962"/>
                  <a:pt x="2649931" y="27432"/>
                </a:cubicBezTo>
                <a:cubicBezTo>
                  <a:pt x="2417470" y="12902"/>
                  <a:pt x="2238426" y="16481"/>
                  <a:pt x="2054657" y="27432"/>
                </a:cubicBezTo>
                <a:cubicBezTo>
                  <a:pt x="1870888" y="38383"/>
                  <a:pt x="1566368" y="54184"/>
                  <a:pt x="1324966" y="27432"/>
                </a:cubicBezTo>
                <a:cubicBezTo>
                  <a:pt x="1083564" y="680"/>
                  <a:pt x="787410" y="20090"/>
                  <a:pt x="595274" y="27432"/>
                </a:cubicBezTo>
                <a:cubicBezTo>
                  <a:pt x="403138" y="34774"/>
                  <a:pt x="169622" y="19643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4445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5414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37704-80BD-41B0-8395-41618EC3A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1920" cy="3429000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DA4032-EC66-4974-BD30-898B60E4B5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03520" y="548640"/>
            <a:ext cx="6053328" cy="543153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802D0-5574-4631-BA49-92362F8E40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977640"/>
            <a:ext cx="3931920" cy="2002536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2C2F5B-DDDD-4E64-94A9-99E46F4B0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FA8D36-8865-48E7-8249-ED729A5F7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0F98C3-0B62-4361-8408-A01F7080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6" descr="Tag=AccentColor&#10;Flavor=Light&#10;Target=FillAndLine">
            <a:extLst>
              <a:ext uri="{FF2B5EF4-FFF2-40B4-BE49-F238E27FC236}">
                <a16:creationId xmlns:a16="http://schemas.microsoft.com/office/drawing/2014/main" id="{FE511AB6-FEAF-4549-BA88-0764BD10B63D}"/>
              </a:ext>
            </a:extLst>
          </p:cNvPr>
          <p:cNvSpPr/>
          <p:nvPr/>
        </p:nvSpPr>
        <p:spPr>
          <a:xfrm rot="5400000">
            <a:off x="2798064" y="3254143"/>
            <a:ext cx="4480560" cy="27432"/>
          </a:xfrm>
          <a:custGeom>
            <a:avLst/>
            <a:gdLst>
              <a:gd name="connsiteX0" fmla="*/ 0 w 4480560"/>
              <a:gd name="connsiteY0" fmla="*/ 0 h 27432"/>
              <a:gd name="connsiteX1" fmla="*/ 595274 w 4480560"/>
              <a:gd name="connsiteY1" fmla="*/ 0 h 27432"/>
              <a:gd name="connsiteX2" fmla="*/ 1100938 w 4480560"/>
              <a:gd name="connsiteY2" fmla="*/ 0 h 27432"/>
              <a:gd name="connsiteX3" fmla="*/ 1651406 w 4480560"/>
              <a:gd name="connsiteY3" fmla="*/ 0 h 27432"/>
              <a:gd name="connsiteX4" fmla="*/ 2336292 w 4480560"/>
              <a:gd name="connsiteY4" fmla="*/ 0 h 27432"/>
              <a:gd name="connsiteX5" fmla="*/ 2931566 w 4480560"/>
              <a:gd name="connsiteY5" fmla="*/ 0 h 27432"/>
              <a:gd name="connsiteX6" fmla="*/ 3482035 w 4480560"/>
              <a:gd name="connsiteY6" fmla="*/ 0 h 27432"/>
              <a:gd name="connsiteX7" fmla="*/ 4480560 w 4480560"/>
              <a:gd name="connsiteY7" fmla="*/ 0 h 27432"/>
              <a:gd name="connsiteX8" fmla="*/ 4480560 w 4480560"/>
              <a:gd name="connsiteY8" fmla="*/ 27432 h 27432"/>
              <a:gd name="connsiteX9" fmla="*/ 3840480 w 4480560"/>
              <a:gd name="connsiteY9" fmla="*/ 27432 h 27432"/>
              <a:gd name="connsiteX10" fmla="*/ 3290011 w 4480560"/>
              <a:gd name="connsiteY10" fmla="*/ 27432 h 27432"/>
              <a:gd name="connsiteX11" fmla="*/ 2560320 w 4480560"/>
              <a:gd name="connsiteY11" fmla="*/ 27432 h 27432"/>
              <a:gd name="connsiteX12" fmla="*/ 1965046 w 4480560"/>
              <a:gd name="connsiteY12" fmla="*/ 27432 h 27432"/>
              <a:gd name="connsiteX13" fmla="*/ 1459382 w 4480560"/>
              <a:gd name="connsiteY13" fmla="*/ 27432 h 27432"/>
              <a:gd name="connsiteX14" fmla="*/ 774497 w 4480560"/>
              <a:gd name="connsiteY14" fmla="*/ 27432 h 27432"/>
              <a:gd name="connsiteX15" fmla="*/ 0 w 4480560"/>
              <a:gd name="connsiteY15" fmla="*/ 27432 h 27432"/>
              <a:gd name="connsiteX16" fmla="*/ 0 w 4480560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27432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79587" y="8304"/>
                  <a:pt x="4480082" y="21512"/>
                  <a:pt x="4480560" y="27432"/>
                </a:cubicBezTo>
                <a:cubicBezTo>
                  <a:pt x="4314132" y="24068"/>
                  <a:pt x="4028383" y="45776"/>
                  <a:pt x="3840480" y="27432"/>
                </a:cubicBezTo>
                <a:cubicBezTo>
                  <a:pt x="3652577" y="9088"/>
                  <a:pt x="3547615" y="11992"/>
                  <a:pt x="3290011" y="27432"/>
                </a:cubicBezTo>
                <a:cubicBezTo>
                  <a:pt x="3032407" y="42872"/>
                  <a:pt x="2830268" y="17863"/>
                  <a:pt x="2560320" y="27432"/>
                </a:cubicBezTo>
                <a:cubicBezTo>
                  <a:pt x="2290372" y="37001"/>
                  <a:pt x="2147422" y="15872"/>
                  <a:pt x="1965046" y="27432"/>
                </a:cubicBezTo>
                <a:cubicBezTo>
                  <a:pt x="1782670" y="38992"/>
                  <a:pt x="1689791" y="49824"/>
                  <a:pt x="1459382" y="27432"/>
                </a:cubicBezTo>
                <a:cubicBezTo>
                  <a:pt x="1228973" y="5040"/>
                  <a:pt x="915486" y="45645"/>
                  <a:pt x="774497" y="27432"/>
                </a:cubicBezTo>
                <a:cubicBezTo>
                  <a:pt x="633508" y="9219"/>
                  <a:pt x="361442" y="-1963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480560" h="27432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81045" y="9333"/>
                  <a:pt x="4481838" y="19699"/>
                  <a:pt x="4480560" y="27432"/>
                </a:cubicBezTo>
                <a:cubicBezTo>
                  <a:pt x="4279652" y="2294"/>
                  <a:pt x="4200762" y="50710"/>
                  <a:pt x="3930091" y="27432"/>
                </a:cubicBezTo>
                <a:cubicBezTo>
                  <a:pt x="3659420" y="4154"/>
                  <a:pt x="3456052" y="31438"/>
                  <a:pt x="3290011" y="27432"/>
                </a:cubicBezTo>
                <a:cubicBezTo>
                  <a:pt x="3123970" y="23426"/>
                  <a:pt x="2882392" y="41962"/>
                  <a:pt x="2649931" y="27432"/>
                </a:cubicBezTo>
                <a:cubicBezTo>
                  <a:pt x="2417470" y="12902"/>
                  <a:pt x="2238426" y="16481"/>
                  <a:pt x="2054657" y="27432"/>
                </a:cubicBezTo>
                <a:cubicBezTo>
                  <a:pt x="1870888" y="38383"/>
                  <a:pt x="1566368" y="54184"/>
                  <a:pt x="1324966" y="27432"/>
                </a:cubicBezTo>
                <a:cubicBezTo>
                  <a:pt x="1083564" y="680"/>
                  <a:pt x="787410" y="20090"/>
                  <a:pt x="595274" y="27432"/>
                </a:cubicBezTo>
                <a:cubicBezTo>
                  <a:pt x="403138" y="34774"/>
                  <a:pt x="169622" y="19643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4445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16351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7CF8D-FF51-4FD8-B968-A2C850734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61A953-02EA-491B-A215-AF8420D74D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084D1E-BC98-44E4-8D2C-89CCDC293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019EB-9C2B-4833-B72A-147694159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F6E764-5688-45F5-94ED-A7357D2F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0835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0E3CB6-3025-40BF-A04B-A7B0CB4C01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DD5CB3-8B24-48C7-89D3-8DCAD36A45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0BC931-E2BF-4C1D-91AA-89F82F826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8A135-AEE9-4483-957E-3D143318D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DEFD4-A052-46B3-B2AE-F3091D8A2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94280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5" y="9022"/>
            <a:ext cx="12197605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65383154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" y="9022"/>
            <a:ext cx="12188949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0689863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C7969F3-A804-4F67-8A2F-E93E3D6C40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96"/>
            <a:ext cx="12188952" cy="685780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0816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243B41-E6B7-4E99-A7F9-784E71ACB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"/>
            <a:ext cx="12188952" cy="685780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02374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CC5A71-D40F-464D-95B6-84DA9BCB0A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2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64832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68932647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27256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C927C59-8192-431D-856E-02EC37D122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2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60405-9AC8-4146-9545-C040E08196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E49E94-629A-453C-8EE5-712CC271F5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825629"/>
            <a:ext cx="43815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365129"/>
            <a:ext cx="5175421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</p:spTree>
    <p:extLst>
      <p:ext uri="{BB962C8B-B14F-4D97-AF65-F5344CB8AC3E}">
        <p14:creationId xmlns:p14="http://schemas.microsoft.com/office/powerpoint/2010/main" val="2917922024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513042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9"/>
            <a:ext cx="514349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1" y="1825629"/>
            <a:ext cx="514349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8A0A025-727F-4C46-B2DE-C887875C1A1F}"/>
              </a:ext>
            </a:extLst>
          </p:cNvPr>
          <p:cNvSpPr txBox="1">
            <a:spLocks/>
          </p:cNvSpPr>
          <p:nvPr userDrawn="1"/>
        </p:nvSpPr>
        <p:spPr>
          <a:xfrm>
            <a:off x="7959273" y="1825630"/>
            <a:ext cx="3839028" cy="18755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800100" indent="-279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i="1" dirty="0">
                <a:solidFill>
                  <a:schemeClr val="bg1"/>
                </a:solidFill>
              </a:rPr>
              <a:t>Supporting text can go over here</a:t>
            </a:r>
          </a:p>
        </p:txBody>
      </p:sp>
    </p:spTree>
    <p:extLst>
      <p:ext uri="{BB962C8B-B14F-4D97-AF65-F5344CB8AC3E}">
        <p14:creationId xmlns:p14="http://schemas.microsoft.com/office/powerpoint/2010/main" val="305890877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D79F2B7-14D2-45F7-B24F-1C43A249D0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3487" y="0"/>
            <a:ext cx="1625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1CBC65-8D0F-4120-A036-3058C86319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607" y="4545249"/>
            <a:ext cx="3116943" cy="1325563"/>
          </a:xfrm>
        </p:spPr>
        <p:txBody>
          <a:bodyPr>
            <a:normAutofit/>
          </a:bodyPr>
          <a:lstStyle>
            <a:lvl1pPr>
              <a:defRPr sz="2400" i="1"/>
            </a:lvl1pPr>
          </a:lstStyle>
          <a:p>
            <a:r>
              <a:rPr lang="en-US" dirty="0"/>
              <a:t>“Insert a quote or message here”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DDB6AA-55E6-433D-A6A2-3EEA381A9F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85955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9BFEED-D049-4AD1-ADAD-9A3C04EB6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able Examp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E21D2D-0B27-43B9-8D33-81FFF47AF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graphicFrame>
        <p:nvGraphicFramePr>
          <p:cNvPr id="6" name="Table Placeholder 10">
            <a:extLst>
              <a:ext uri="{FF2B5EF4-FFF2-40B4-BE49-F238E27FC236}">
                <a16:creationId xmlns:a16="http://schemas.microsoft.com/office/drawing/2014/main" id="{AFD0D2AF-5048-4747-AF5E-2BBD46A851F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051316944"/>
              </p:ext>
            </p:extLst>
          </p:nvPr>
        </p:nvGraphicFramePr>
        <p:xfrm>
          <a:off x="838203" y="1466852"/>
          <a:ext cx="10515600" cy="4079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686608436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13939941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26230833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529646418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24280615"/>
                    </a:ext>
                  </a:extLst>
                </a:gridCol>
              </a:tblGrid>
              <a:tr h="388237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900" spc="300" dirty="0">
                          <a:solidFill>
                            <a:schemeClr val="bg1"/>
                          </a:solidFill>
                          <a:latin typeface="+mn-lt"/>
                        </a:rPr>
                        <a:t>CONTACTS</a:t>
                      </a:r>
                      <a:endParaRPr lang="en-US" sz="1900" spc="3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289380"/>
                  </a:ext>
                </a:extLst>
              </a:tr>
              <a:tr h="335705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Network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Region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ID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17237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Andrew Smi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Nor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1234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43456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Mark Walberg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Nor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0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4567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286153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Amanda </a:t>
                      </a:r>
                      <a:r>
                        <a:rPr lang="en-US" sz="1600" b="1" dirty="0" err="1">
                          <a:solidFill>
                            <a:schemeClr val="accent2"/>
                          </a:solidFill>
                          <a:latin typeface="+mn-lt"/>
                        </a:rPr>
                        <a:t>Bynes</a:t>
                      </a:r>
                      <a:endParaRPr lang="en-US" sz="1600" b="1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Sou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890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9896321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Carrie Clark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Ea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3210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689301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Sam Hun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Ea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5432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46024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Bruce Willis 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We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7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784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629193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Mary T. Moore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We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8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893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5152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70807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09605F-304F-4639-9FBE-158E9730DD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9"/>
            <a:ext cx="10515600" cy="132556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hart Examp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7869B1-CD0C-40A0-AF61-68791B9D1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8FD4526D-FC35-4738-9C26-A11455F31B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44268748"/>
              </p:ext>
            </p:extLst>
          </p:nvPr>
        </p:nvGraphicFramePr>
        <p:xfrm>
          <a:off x="839788" y="1856588"/>
          <a:ext cx="10515600" cy="439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6256014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43079" y="0"/>
            <a:ext cx="16257409" cy="68585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1837" y="2949960"/>
            <a:ext cx="2428327" cy="95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7766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5052144" y="2832924"/>
            <a:ext cx="2778995" cy="119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3433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022"/>
            <a:ext cx="12191999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65383154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r" defTabSz="210502">
              <a:lnSpc>
                <a:spcPct val="100000"/>
              </a:lnSpc>
              <a:spcBef>
                <a:spcPts val="0"/>
              </a:spcBef>
              <a:buSzTx/>
              <a:buNone/>
              <a:defRPr sz="2168">
                <a:solidFill>
                  <a:srgbClr val="EB8F6E"/>
                </a:solidFill>
              </a:defRPr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10000"/>
              </a:lnSpc>
              <a:defRPr sz="4750" b="0" cap="all" spc="475">
                <a:solidFill>
                  <a:srgbClr val="FFFFFF"/>
                </a:solidFill>
                <a:latin typeface="+mj-lt"/>
                <a:ea typeface="+mj-ea"/>
                <a:cs typeface="+mj-cs"/>
                <a:sym typeface="SlateStd-Bold"/>
              </a:defRPr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13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88972" y="6480386"/>
            <a:ext cx="243656" cy="2410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72663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88972" y="6480386"/>
            <a:ext cx="243656" cy="241092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162767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2"/>
            <a:ext cx="11582400" cy="571499"/>
          </a:xfrm>
          <a:prstGeom prst="rect">
            <a:avLst/>
          </a:prstGeom>
        </p:spPr>
        <p:txBody>
          <a:bodyPr anchor="ctr" anchorCtr="0"/>
          <a:lstStyle>
            <a:lvl1pPr>
              <a:defRPr sz="2400">
                <a:solidFill>
                  <a:srgbClr val="0076C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4800" y="1060450"/>
            <a:ext cx="11582400" cy="492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658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6118273"/>
            <a:ext cx="12192000" cy="739727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Oval 9"/>
          <p:cNvSpPr/>
          <p:nvPr userDrawn="1"/>
        </p:nvSpPr>
        <p:spPr>
          <a:xfrm>
            <a:off x="311911" y="6365130"/>
            <a:ext cx="330661" cy="247996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573" y="6372324"/>
            <a:ext cx="3142343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2"/>
                </a:solidFill>
              </a:rPr>
              <a:t>©</a:t>
            </a:r>
            <a:r>
              <a:rPr lang="en-US" sz="900" baseline="0" dirty="0">
                <a:solidFill>
                  <a:schemeClr val="bg2"/>
                </a:solidFill>
              </a:rPr>
              <a:t> Regional One Health</a:t>
            </a:r>
            <a:endParaRPr lang="en-US" sz="900" dirty="0">
              <a:solidFill>
                <a:schemeClr val="bg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296" y="6365130"/>
            <a:ext cx="2279904" cy="24522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11912" y="6365130"/>
            <a:ext cx="330661" cy="24522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5976563"/>
            <a:ext cx="12192000" cy="141711"/>
            <a:chOff x="0" y="6052714"/>
            <a:chExt cx="9144000" cy="141711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6052714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144766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1"/>
            <a:ext cx="12192000" cy="49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92000" cy="58664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1739" y="1237342"/>
            <a:ext cx="10903132" cy="2527125"/>
          </a:xfrm>
          <a:prstGeom prst="rect">
            <a:avLst/>
          </a:prstGeom>
        </p:spPr>
        <p:txBody>
          <a:bodyPr anchor="ctr" anchorCtr="0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31739" y="3776351"/>
            <a:ext cx="10903132" cy="985651"/>
          </a:xfrm>
          <a:prstGeom prst="rect">
            <a:avLst/>
          </a:prstGeom>
        </p:spPr>
        <p:txBody>
          <a:bodyPr anchor="ctr" anchorCtr="0"/>
          <a:lstStyle>
            <a:lvl1pPr algn="l"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463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2"/>
            <a:ext cx="11582400" cy="571499"/>
          </a:xfrm>
          <a:prstGeom prst="rect">
            <a:avLst/>
          </a:prstGeom>
        </p:spPr>
        <p:txBody>
          <a:bodyPr anchor="ctr" anchorCtr="0"/>
          <a:lstStyle>
            <a:lvl1pPr>
              <a:defRPr sz="2400">
                <a:solidFill>
                  <a:srgbClr val="0076C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311911" y="6493315"/>
            <a:ext cx="330661" cy="247996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573" y="6500509"/>
            <a:ext cx="3142343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2"/>
                </a:solidFill>
              </a:rPr>
              <a:t>©</a:t>
            </a:r>
            <a:r>
              <a:rPr lang="en-US" sz="900" baseline="0" dirty="0">
                <a:solidFill>
                  <a:schemeClr val="bg2"/>
                </a:solidFill>
              </a:rPr>
              <a:t> Regional One Health</a:t>
            </a:r>
            <a:endParaRPr lang="en-US" sz="900" dirty="0">
              <a:solidFill>
                <a:schemeClr val="bg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296" y="6493315"/>
            <a:ext cx="2279904" cy="24522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11912" y="6493315"/>
            <a:ext cx="330661" cy="24522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6173117"/>
            <a:ext cx="12192000" cy="141711"/>
            <a:chOff x="0" y="6052714"/>
            <a:chExt cx="9144000" cy="141711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6052714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144766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1"/>
            <a:ext cx="12192000" cy="49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7313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9985" y="0"/>
            <a:ext cx="12211985" cy="6858000"/>
          </a:xfrm>
          <a:prstGeom prst="rect">
            <a:avLst/>
          </a:prstGeom>
          <a:blipFill dpi="0" rotWithShape="1">
            <a:blip r:embed="rId2">
              <a:lum bright="3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915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/>
      <p:bldP spid="11" grpId="0" animBg="1"/>
    </p:bld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09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-1" y="-56044"/>
            <a:ext cx="10348333" cy="6914044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1505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" grpId="0" animBg="1"/>
      <p:bldP spid="8" grpId="0" animBg="1"/>
    </p:bld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3" r="8975"/>
          <a:stretch/>
        </p:blipFill>
        <p:spPr>
          <a:xfrm>
            <a:off x="-29736" y="1"/>
            <a:ext cx="12221736" cy="6857999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-2" y="0"/>
            <a:ext cx="12221737" cy="6858000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92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6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3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" grpId="0" animBg="1"/>
      <p:bldP spid="8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.xml"/><Relationship Id="rId299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32.xml"/><Relationship Id="rId63" Type="http://schemas.openxmlformats.org/officeDocument/2006/relationships/slideLayout" Target="../slideLayouts/slideLayout74.xml"/><Relationship Id="rId159" Type="http://schemas.openxmlformats.org/officeDocument/2006/relationships/slideLayout" Target="../slideLayouts/slideLayout170.xml"/><Relationship Id="rId170" Type="http://schemas.openxmlformats.org/officeDocument/2006/relationships/slideLayout" Target="../slideLayouts/slideLayout181.xml"/><Relationship Id="rId226" Type="http://schemas.openxmlformats.org/officeDocument/2006/relationships/slideLayout" Target="../slideLayouts/slideLayout237.xml"/><Relationship Id="rId268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43.xml"/><Relationship Id="rId74" Type="http://schemas.openxmlformats.org/officeDocument/2006/relationships/slideLayout" Target="../slideLayouts/slideLayout85.xml"/><Relationship Id="rId128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6.xml"/><Relationship Id="rId181" Type="http://schemas.openxmlformats.org/officeDocument/2006/relationships/slideLayout" Target="../slideLayouts/slideLayout192.xml"/><Relationship Id="rId237" Type="http://schemas.openxmlformats.org/officeDocument/2006/relationships/slideLayout" Target="../slideLayouts/slideLayout248.xml"/><Relationship Id="rId279" Type="http://schemas.openxmlformats.org/officeDocument/2006/relationships/slideLayout" Target="../slideLayouts/slideLayout290.xml"/><Relationship Id="rId43" Type="http://schemas.openxmlformats.org/officeDocument/2006/relationships/slideLayout" Target="../slideLayouts/slideLayout54.xml"/><Relationship Id="rId139" Type="http://schemas.openxmlformats.org/officeDocument/2006/relationships/slideLayout" Target="../slideLayouts/slideLayout150.xml"/><Relationship Id="rId290" Type="http://schemas.openxmlformats.org/officeDocument/2006/relationships/slideLayout" Target="../slideLayouts/slideLayout301.xml"/><Relationship Id="rId304" Type="http://schemas.openxmlformats.org/officeDocument/2006/relationships/slideLayout" Target="../slideLayouts/slideLayout315.xml"/><Relationship Id="rId85" Type="http://schemas.openxmlformats.org/officeDocument/2006/relationships/slideLayout" Target="../slideLayouts/slideLayout96.xml"/><Relationship Id="rId150" Type="http://schemas.openxmlformats.org/officeDocument/2006/relationships/slideLayout" Target="../slideLayouts/slideLayout161.xml"/><Relationship Id="rId192" Type="http://schemas.openxmlformats.org/officeDocument/2006/relationships/slideLayout" Target="../slideLayouts/slideLayout203.xml"/><Relationship Id="rId206" Type="http://schemas.openxmlformats.org/officeDocument/2006/relationships/slideLayout" Target="../slideLayouts/slideLayout217.xml"/><Relationship Id="rId248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3.xml"/><Relationship Id="rId108" Type="http://schemas.openxmlformats.org/officeDocument/2006/relationships/slideLayout" Target="../slideLayouts/slideLayout119.xml"/><Relationship Id="rId315" Type="http://schemas.openxmlformats.org/officeDocument/2006/relationships/slideLayout" Target="../slideLayouts/slideLayout326.xml"/><Relationship Id="rId54" Type="http://schemas.openxmlformats.org/officeDocument/2006/relationships/slideLayout" Target="../slideLayouts/slideLayout65.xml"/><Relationship Id="rId96" Type="http://schemas.openxmlformats.org/officeDocument/2006/relationships/slideLayout" Target="../slideLayouts/slideLayout107.xml"/><Relationship Id="rId161" Type="http://schemas.openxmlformats.org/officeDocument/2006/relationships/slideLayout" Target="../slideLayouts/slideLayout172.xml"/><Relationship Id="rId217" Type="http://schemas.openxmlformats.org/officeDocument/2006/relationships/slideLayout" Target="../slideLayouts/slideLayout228.xml"/><Relationship Id="rId259" Type="http://schemas.openxmlformats.org/officeDocument/2006/relationships/slideLayout" Target="../slideLayouts/slideLayout270.xml"/><Relationship Id="rId23" Type="http://schemas.openxmlformats.org/officeDocument/2006/relationships/slideLayout" Target="../slideLayouts/slideLayout34.xml"/><Relationship Id="rId119" Type="http://schemas.openxmlformats.org/officeDocument/2006/relationships/slideLayout" Target="../slideLayouts/slideLayout130.xml"/><Relationship Id="rId270" Type="http://schemas.openxmlformats.org/officeDocument/2006/relationships/slideLayout" Target="../slideLayouts/slideLayout281.xml"/><Relationship Id="rId65" Type="http://schemas.openxmlformats.org/officeDocument/2006/relationships/slideLayout" Target="../slideLayouts/slideLayout76.xml"/><Relationship Id="rId130" Type="http://schemas.openxmlformats.org/officeDocument/2006/relationships/slideLayout" Target="../slideLayouts/slideLayout141.xml"/><Relationship Id="rId172" Type="http://schemas.openxmlformats.org/officeDocument/2006/relationships/slideLayout" Target="../slideLayouts/slideLayout183.xml"/><Relationship Id="rId228" Type="http://schemas.openxmlformats.org/officeDocument/2006/relationships/slideLayout" Target="../slideLayouts/slideLayout239.xml"/><Relationship Id="rId281" Type="http://schemas.openxmlformats.org/officeDocument/2006/relationships/slideLayout" Target="../slideLayouts/slideLayout292.xml"/><Relationship Id="rId34" Type="http://schemas.openxmlformats.org/officeDocument/2006/relationships/slideLayout" Target="../slideLayouts/slideLayout45.xml"/><Relationship Id="rId55" Type="http://schemas.openxmlformats.org/officeDocument/2006/relationships/slideLayout" Target="../slideLayouts/slideLayout66.xml"/><Relationship Id="rId76" Type="http://schemas.openxmlformats.org/officeDocument/2006/relationships/slideLayout" Target="../slideLayouts/slideLayout87.xml"/><Relationship Id="rId97" Type="http://schemas.openxmlformats.org/officeDocument/2006/relationships/slideLayout" Target="../slideLayouts/slideLayout108.xml"/><Relationship Id="rId120" Type="http://schemas.openxmlformats.org/officeDocument/2006/relationships/slideLayout" Target="../slideLayouts/slideLayout131.xml"/><Relationship Id="rId14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8.xml"/><Relationship Id="rId162" Type="http://schemas.openxmlformats.org/officeDocument/2006/relationships/slideLayout" Target="../slideLayouts/slideLayout173.xml"/><Relationship Id="rId183" Type="http://schemas.openxmlformats.org/officeDocument/2006/relationships/slideLayout" Target="../slideLayouts/slideLayout194.xml"/><Relationship Id="rId218" Type="http://schemas.openxmlformats.org/officeDocument/2006/relationships/slideLayout" Target="../slideLayouts/slideLayout229.xml"/><Relationship Id="rId239" Type="http://schemas.openxmlformats.org/officeDocument/2006/relationships/slideLayout" Target="../slideLayouts/slideLayout250.xml"/><Relationship Id="rId250" Type="http://schemas.openxmlformats.org/officeDocument/2006/relationships/slideLayout" Target="../slideLayouts/slideLayout261.xml"/><Relationship Id="rId271" Type="http://schemas.openxmlformats.org/officeDocument/2006/relationships/slideLayout" Target="../slideLayouts/slideLayout282.xml"/><Relationship Id="rId292" Type="http://schemas.openxmlformats.org/officeDocument/2006/relationships/slideLayout" Target="../slideLayouts/slideLayout303.xml"/><Relationship Id="rId306" Type="http://schemas.openxmlformats.org/officeDocument/2006/relationships/slideLayout" Target="../slideLayouts/slideLayout317.xml"/><Relationship Id="rId24" Type="http://schemas.openxmlformats.org/officeDocument/2006/relationships/slideLayout" Target="../slideLayouts/slideLayout35.xml"/><Relationship Id="rId45" Type="http://schemas.openxmlformats.org/officeDocument/2006/relationships/slideLayout" Target="../slideLayouts/slideLayout56.xml"/><Relationship Id="rId66" Type="http://schemas.openxmlformats.org/officeDocument/2006/relationships/slideLayout" Target="../slideLayouts/slideLayout77.xml"/><Relationship Id="rId87" Type="http://schemas.openxmlformats.org/officeDocument/2006/relationships/slideLayout" Target="../slideLayouts/slideLayout98.xml"/><Relationship Id="rId110" Type="http://schemas.openxmlformats.org/officeDocument/2006/relationships/slideLayout" Target="../slideLayouts/slideLayout121.xml"/><Relationship Id="rId131" Type="http://schemas.openxmlformats.org/officeDocument/2006/relationships/slideLayout" Target="../slideLayouts/slideLayout142.xml"/><Relationship Id="rId152" Type="http://schemas.openxmlformats.org/officeDocument/2006/relationships/slideLayout" Target="../slideLayouts/slideLayout163.xml"/><Relationship Id="rId173" Type="http://schemas.openxmlformats.org/officeDocument/2006/relationships/slideLayout" Target="../slideLayouts/slideLayout184.xml"/><Relationship Id="rId194" Type="http://schemas.openxmlformats.org/officeDocument/2006/relationships/slideLayout" Target="../slideLayouts/slideLayout205.xml"/><Relationship Id="rId208" Type="http://schemas.openxmlformats.org/officeDocument/2006/relationships/slideLayout" Target="../slideLayouts/slideLayout219.xml"/><Relationship Id="rId229" Type="http://schemas.openxmlformats.org/officeDocument/2006/relationships/slideLayout" Target="../slideLayouts/slideLayout240.xml"/><Relationship Id="rId240" Type="http://schemas.openxmlformats.org/officeDocument/2006/relationships/slideLayout" Target="../slideLayouts/slideLayout251.xml"/><Relationship Id="rId261" Type="http://schemas.openxmlformats.org/officeDocument/2006/relationships/slideLayout" Target="../slideLayouts/slideLayout272.xml"/><Relationship Id="rId14" Type="http://schemas.openxmlformats.org/officeDocument/2006/relationships/slideLayout" Target="../slideLayouts/slideLayout25.xml"/><Relationship Id="rId35" Type="http://schemas.openxmlformats.org/officeDocument/2006/relationships/slideLayout" Target="../slideLayouts/slideLayout46.xml"/><Relationship Id="rId56" Type="http://schemas.openxmlformats.org/officeDocument/2006/relationships/slideLayout" Target="../slideLayouts/slideLayout67.xml"/><Relationship Id="rId77" Type="http://schemas.openxmlformats.org/officeDocument/2006/relationships/slideLayout" Target="../slideLayouts/slideLayout88.xml"/><Relationship Id="rId100" Type="http://schemas.openxmlformats.org/officeDocument/2006/relationships/slideLayout" Target="../slideLayouts/slideLayout111.xml"/><Relationship Id="rId282" Type="http://schemas.openxmlformats.org/officeDocument/2006/relationships/slideLayout" Target="../slideLayouts/slideLayout293.xml"/><Relationship Id="rId317" Type="http://schemas.openxmlformats.org/officeDocument/2006/relationships/slideLayout" Target="../slideLayouts/slideLayout328.xml"/><Relationship Id="rId8" Type="http://schemas.openxmlformats.org/officeDocument/2006/relationships/slideLayout" Target="../slideLayouts/slideLayout19.xml"/><Relationship Id="rId98" Type="http://schemas.openxmlformats.org/officeDocument/2006/relationships/slideLayout" Target="../slideLayouts/slideLayout109.xml"/><Relationship Id="rId121" Type="http://schemas.openxmlformats.org/officeDocument/2006/relationships/slideLayout" Target="../slideLayouts/slideLayout132.xml"/><Relationship Id="rId142" Type="http://schemas.openxmlformats.org/officeDocument/2006/relationships/slideLayout" Target="../slideLayouts/slideLayout153.xml"/><Relationship Id="rId163" Type="http://schemas.openxmlformats.org/officeDocument/2006/relationships/slideLayout" Target="../slideLayouts/slideLayout174.xml"/><Relationship Id="rId184" Type="http://schemas.openxmlformats.org/officeDocument/2006/relationships/slideLayout" Target="../slideLayouts/slideLayout195.xml"/><Relationship Id="rId219" Type="http://schemas.openxmlformats.org/officeDocument/2006/relationships/slideLayout" Target="../slideLayouts/slideLayout230.xml"/><Relationship Id="rId230" Type="http://schemas.openxmlformats.org/officeDocument/2006/relationships/slideLayout" Target="../slideLayouts/slideLayout241.xml"/><Relationship Id="rId251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36.xml"/><Relationship Id="rId46" Type="http://schemas.openxmlformats.org/officeDocument/2006/relationships/slideLayout" Target="../slideLayouts/slideLayout57.xml"/><Relationship Id="rId67" Type="http://schemas.openxmlformats.org/officeDocument/2006/relationships/slideLayout" Target="../slideLayouts/slideLayout78.xml"/><Relationship Id="rId272" Type="http://schemas.openxmlformats.org/officeDocument/2006/relationships/slideLayout" Target="../slideLayouts/slideLayout283.xml"/><Relationship Id="rId293" Type="http://schemas.openxmlformats.org/officeDocument/2006/relationships/slideLayout" Target="../slideLayouts/slideLayout304.xml"/><Relationship Id="rId307" Type="http://schemas.openxmlformats.org/officeDocument/2006/relationships/slideLayout" Target="../slideLayouts/slideLayout318.xml"/><Relationship Id="rId88" Type="http://schemas.openxmlformats.org/officeDocument/2006/relationships/slideLayout" Target="../slideLayouts/slideLayout99.xml"/><Relationship Id="rId111" Type="http://schemas.openxmlformats.org/officeDocument/2006/relationships/slideLayout" Target="../slideLayouts/slideLayout122.xml"/><Relationship Id="rId132" Type="http://schemas.openxmlformats.org/officeDocument/2006/relationships/slideLayout" Target="../slideLayouts/slideLayout143.xml"/><Relationship Id="rId153" Type="http://schemas.openxmlformats.org/officeDocument/2006/relationships/slideLayout" Target="../slideLayouts/slideLayout164.xml"/><Relationship Id="rId174" Type="http://schemas.openxmlformats.org/officeDocument/2006/relationships/slideLayout" Target="../slideLayouts/slideLayout185.xml"/><Relationship Id="rId195" Type="http://schemas.openxmlformats.org/officeDocument/2006/relationships/slideLayout" Target="../slideLayouts/slideLayout206.xml"/><Relationship Id="rId209" Type="http://schemas.openxmlformats.org/officeDocument/2006/relationships/slideLayout" Target="../slideLayouts/slideLayout220.xml"/><Relationship Id="rId220" Type="http://schemas.openxmlformats.org/officeDocument/2006/relationships/slideLayout" Target="../slideLayouts/slideLayout231.xml"/><Relationship Id="rId241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.xml"/><Relationship Id="rId36" Type="http://schemas.openxmlformats.org/officeDocument/2006/relationships/slideLayout" Target="../slideLayouts/slideLayout47.xml"/><Relationship Id="rId57" Type="http://schemas.openxmlformats.org/officeDocument/2006/relationships/slideLayout" Target="../slideLayouts/slideLayout68.xml"/><Relationship Id="rId262" Type="http://schemas.openxmlformats.org/officeDocument/2006/relationships/slideLayout" Target="../slideLayouts/slideLayout273.xml"/><Relationship Id="rId283" Type="http://schemas.openxmlformats.org/officeDocument/2006/relationships/slideLayout" Target="../slideLayouts/slideLayout294.xml"/><Relationship Id="rId318" Type="http://schemas.openxmlformats.org/officeDocument/2006/relationships/slideLayout" Target="../slideLayouts/slideLayout329.xml"/><Relationship Id="rId78" Type="http://schemas.openxmlformats.org/officeDocument/2006/relationships/slideLayout" Target="../slideLayouts/slideLayout89.xml"/><Relationship Id="rId99" Type="http://schemas.openxmlformats.org/officeDocument/2006/relationships/slideLayout" Target="../slideLayouts/slideLayout110.xml"/><Relationship Id="rId101" Type="http://schemas.openxmlformats.org/officeDocument/2006/relationships/slideLayout" Target="../slideLayouts/slideLayout112.xml"/><Relationship Id="rId122" Type="http://schemas.openxmlformats.org/officeDocument/2006/relationships/slideLayout" Target="../slideLayouts/slideLayout133.xml"/><Relationship Id="rId143" Type="http://schemas.openxmlformats.org/officeDocument/2006/relationships/slideLayout" Target="../slideLayouts/slideLayout154.xml"/><Relationship Id="rId164" Type="http://schemas.openxmlformats.org/officeDocument/2006/relationships/slideLayout" Target="../slideLayouts/slideLayout175.xml"/><Relationship Id="rId185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.xml"/><Relationship Id="rId210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37.xml"/><Relationship Id="rId231" Type="http://schemas.openxmlformats.org/officeDocument/2006/relationships/slideLayout" Target="../slideLayouts/slideLayout242.xml"/><Relationship Id="rId252" Type="http://schemas.openxmlformats.org/officeDocument/2006/relationships/slideLayout" Target="../slideLayouts/slideLayout263.xml"/><Relationship Id="rId273" Type="http://schemas.openxmlformats.org/officeDocument/2006/relationships/slideLayout" Target="../slideLayouts/slideLayout284.xml"/><Relationship Id="rId294" Type="http://schemas.openxmlformats.org/officeDocument/2006/relationships/slideLayout" Target="../slideLayouts/slideLayout305.xml"/><Relationship Id="rId308" Type="http://schemas.openxmlformats.org/officeDocument/2006/relationships/slideLayout" Target="../slideLayouts/slideLayout319.xml"/><Relationship Id="rId47" Type="http://schemas.openxmlformats.org/officeDocument/2006/relationships/slideLayout" Target="../slideLayouts/slideLayout58.xml"/><Relationship Id="rId68" Type="http://schemas.openxmlformats.org/officeDocument/2006/relationships/slideLayout" Target="../slideLayouts/slideLayout79.xml"/><Relationship Id="rId89" Type="http://schemas.openxmlformats.org/officeDocument/2006/relationships/slideLayout" Target="../slideLayouts/slideLayout100.xml"/><Relationship Id="rId112" Type="http://schemas.openxmlformats.org/officeDocument/2006/relationships/slideLayout" Target="../slideLayouts/slideLayout123.xml"/><Relationship Id="rId133" Type="http://schemas.openxmlformats.org/officeDocument/2006/relationships/slideLayout" Target="../slideLayouts/slideLayout144.xml"/><Relationship Id="rId154" Type="http://schemas.openxmlformats.org/officeDocument/2006/relationships/slideLayout" Target="../slideLayouts/slideLayout165.xml"/><Relationship Id="rId175" Type="http://schemas.openxmlformats.org/officeDocument/2006/relationships/slideLayout" Target="../slideLayouts/slideLayout186.xml"/><Relationship Id="rId196" Type="http://schemas.openxmlformats.org/officeDocument/2006/relationships/slideLayout" Target="../slideLayouts/slideLayout207.xml"/><Relationship Id="rId200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7.xml"/><Relationship Id="rId221" Type="http://schemas.openxmlformats.org/officeDocument/2006/relationships/slideLayout" Target="../slideLayouts/slideLayout232.xml"/><Relationship Id="rId242" Type="http://schemas.openxmlformats.org/officeDocument/2006/relationships/slideLayout" Target="../slideLayouts/slideLayout253.xml"/><Relationship Id="rId263" Type="http://schemas.openxmlformats.org/officeDocument/2006/relationships/slideLayout" Target="../slideLayouts/slideLayout274.xml"/><Relationship Id="rId284" Type="http://schemas.openxmlformats.org/officeDocument/2006/relationships/slideLayout" Target="../slideLayouts/slideLayout295.xml"/><Relationship Id="rId319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48.xml"/><Relationship Id="rId58" Type="http://schemas.openxmlformats.org/officeDocument/2006/relationships/slideLayout" Target="../slideLayouts/slideLayout69.xml"/><Relationship Id="rId79" Type="http://schemas.openxmlformats.org/officeDocument/2006/relationships/slideLayout" Target="../slideLayouts/slideLayout90.xml"/><Relationship Id="rId102" Type="http://schemas.openxmlformats.org/officeDocument/2006/relationships/slideLayout" Target="../slideLayouts/slideLayout113.xml"/><Relationship Id="rId123" Type="http://schemas.openxmlformats.org/officeDocument/2006/relationships/slideLayout" Target="../slideLayouts/slideLayout134.xml"/><Relationship Id="rId144" Type="http://schemas.openxmlformats.org/officeDocument/2006/relationships/slideLayout" Target="../slideLayouts/slideLayout155.xml"/><Relationship Id="rId90" Type="http://schemas.openxmlformats.org/officeDocument/2006/relationships/slideLayout" Target="../slideLayouts/slideLayout101.xml"/><Relationship Id="rId165" Type="http://schemas.openxmlformats.org/officeDocument/2006/relationships/slideLayout" Target="../slideLayouts/slideLayout176.xml"/><Relationship Id="rId186" Type="http://schemas.openxmlformats.org/officeDocument/2006/relationships/slideLayout" Target="../slideLayouts/slideLayout197.xml"/><Relationship Id="rId211" Type="http://schemas.openxmlformats.org/officeDocument/2006/relationships/slideLayout" Target="../slideLayouts/slideLayout222.xml"/><Relationship Id="rId232" Type="http://schemas.openxmlformats.org/officeDocument/2006/relationships/slideLayout" Target="../slideLayouts/slideLayout243.xml"/><Relationship Id="rId253" Type="http://schemas.openxmlformats.org/officeDocument/2006/relationships/slideLayout" Target="../slideLayouts/slideLayout264.xml"/><Relationship Id="rId274" Type="http://schemas.openxmlformats.org/officeDocument/2006/relationships/slideLayout" Target="../slideLayouts/slideLayout285.xml"/><Relationship Id="rId295" Type="http://schemas.openxmlformats.org/officeDocument/2006/relationships/slideLayout" Target="../slideLayouts/slideLayout306.xml"/><Relationship Id="rId309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8.xml"/><Relationship Id="rId48" Type="http://schemas.openxmlformats.org/officeDocument/2006/relationships/slideLayout" Target="../slideLayouts/slideLayout59.xml"/><Relationship Id="rId69" Type="http://schemas.openxmlformats.org/officeDocument/2006/relationships/slideLayout" Target="../slideLayouts/slideLayout80.xml"/><Relationship Id="rId113" Type="http://schemas.openxmlformats.org/officeDocument/2006/relationships/slideLayout" Target="../slideLayouts/slideLayout124.xml"/><Relationship Id="rId134" Type="http://schemas.openxmlformats.org/officeDocument/2006/relationships/slideLayout" Target="../slideLayouts/slideLayout145.xml"/><Relationship Id="rId320" Type="http://schemas.openxmlformats.org/officeDocument/2006/relationships/slideLayout" Target="../slideLayouts/slideLayout331.xml"/><Relationship Id="rId80" Type="http://schemas.openxmlformats.org/officeDocument/2006/relationships/slideLayout" Target="../slideLayouts/slideLayout91.xml"/><Relationship Id="rId155" Type="http://schemas.openxmlformats.org/officeDocument/2006/relationships/slideLayout" Target="../slideLayouts/slideLayout166.xml"/><Relationship Id="rId176" Type="http://schemas.openxmlformats.org/officeDocument/2006/relationships/slideLayout" Target="../slideLayouts/slideLayout187.xml"/><Relationship Id="rId197" Type="http://schemas.openxmlformats.org/officeDocument/2006/relationships/slideLayout" Target="../slideLayouts/slideLayout208.xml"/><Relationship Id="rId201" Type="http://schemas.openxmlformats.org/officeDocument/2006/relationships/slideLayout" Target="../slideLayouts/slideLayout212.xml"/><Relationship Id="rId222" Type="http://schemas.openxmlformats.org/officeDocument/2006/relationships/slideLayout" Target="../slideLayouts/slideLayout233.xml"/><Relationship Id="rId243" Type="http://schemas.openxmlformats.org/officeDocument/2006/relationships/slideLayout" Target="../slideLayouts/slideLayout254.xml"/><Relationship Id="rId264" Type="http://schemas.openxmlformats.org/officeDocument/2006/relationships/slideLayout" Target="../slideLayouts/slideLayout275.xml"/><Relationship Id="rId285" Type="http://schemas.openxmlformats.org/officeDocument/2006/relationships/slideLayout" Target="../slideLayouts/slideLayout296.xml"/><Relationship Id="rId17" Type="http://schemas.openxmlformats.org/officeDocument/2006/relationships/slideLayout" Target="../slideLayouts/slideLayout28.xml"/><Relationship Id="rId38" Type="http://schemas.openxmlformats.org/officeDocument/2006/relationships/slideLayout" Target="../slideLayouts/slideLayout49.xml"/><Relationship Id="rId59" Type="http://schemas.openxmlformats.org/officeDocument/2006/relationships/slideLayout" Target="../slideLayouts/slideLayout70.xml"/><Relationship Id="rId103" Type="http://schemas.openxmlformats.org/officeDocument/2006/relationships/slideLayout" Target="../slideLayouts/slideLayout114.xml"/><Relationship Id="rId124" Type="http://schemas.openxmlformats.org/officeDocument/2006/relationships/slideLayout" Target="../slideLayouts/slideLayout135.xml"/><Relationship Id="rId310" Type="http://schemas.openxmlformats.org/officeDocument/2006/relationships/slideLayout" Target="../slideLayouts/slideLayout321.xml"/><Relationship Id="rId70" Type="http://schemas.openxmlformats.org/officeDocument/2006/relationships/slideLayout" Target="../slideLayouts/slideLayout81.xml"/><Relationship Id="rId91" Type="http://schemas.openxmlformats.org/officeDocument/2006/relationships/slideLayout" Target="../slideLayouts/slideLayout102.xml"/><Relationship Id="rId145" Type="http://schemas.openxmlformats.org/officeDocument/2006/relationships/slideLayout" Target="../slideLayouts/slideLayout156.xml"/><Relationship Id="rId166" Type="http://schemas.openxmlformats.org/officeDocument/2006/relationships/slideLayout" Target="../slideLayouts/slideLayout177.xml"/><Relationship Id="rId187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2.xml"/><Relationship Id="rId212" Type="http://schemas.openxmlformats.org/officeDocument/2006/relationships/slideLayout" Target="../slideLayouts/slideLayout223.xml"/><Relationship Id="rId233" Type="http://schemas.openxmlformats.org/officeDocument/2006/relationships/slideLayout" Target="../slideLayouts/slideLayout244.xml"/><Relationship Id="rId254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39.xml"/><Relationship Id="rId49" Type="http://schemas.openxmlformats.org/officeDocument/2006/relationships/slideLayout" Target="../slideLayouts/slideLayout60.xml"/><Relationship Id="rId114" Type="http://schemas.openxmlformats.org/officeDocument/2006/relationships/slideLayout" Target="../slideLayouts/slideLayout125.xml"/><Relationship Id="rId275" Type="http://schemas.openxmlformats.org/officeDocument/2006/relationships/slideLayout" Target="../slideLayouts/slideLayout286.xml"/><Relationship Id="rId296" Type="http://schemas.openxmlformats.org/officeDocument/2006/relationships/slideLayout" Target="../slideLayouts/slideLayout307.xml"/><Relationship Id="rId300" Type="http://schemas.openxmlformats.org/officeDocument/2006/relationships/slideLayout" Target="../slideLayouts/slideLayout311.xml"/><Relationship Id="rId60" Type="http://schemas.openxmlformats.org/officeDocument/2006/relationships/slideLayout" Target="../slideLayouts/slideLayout71.xml"/><Relationship Id="rId81" Type="http://schemas.openxmlformats.org/officeDocument/2006/relationships/slideLayout" Target="../slideLayouts/slideLayout92.xml"/><Relationship Id="rId135" Type="http://schemas.openxmlformats.org/officeDocument/2006/relationships/slideLayout" Target="../slideLayouts/slideLayout146.xml"/><Relationship Id="rId156" Type="http://schemas.openxmlformats.org/officeDocument/2006/relationships/slideLayout" Target="../slideLayouts/slideLayout167.xml"/><Relationship Id="rId177" Type="http://schemas.openxmlformats.org/officeDocument/2006/relationships/slideLayout" Target="../slideLayouts/slideLayout188.xml"/><Relationship Id="rId198" Type="http://schemas.openxmlformats.org/officeDocument/2006/relationships/slideLayout" Target="../slideLayouts/slideLayout209.xml"/><Relationship Id="rId321" Type="http://schemas.openxmlformats.org/officeDocument/2006/relationships/theme" Target="../theme/theme2.xml"/><Relationship Id="rId202" Type="http://schemas.openxmlformats.org/officeDocument/2006/relationships/slideLayout" Target="../slideLayouts/slideLayout213.xml"/><Relationship Id="rId223" Type="http://schemas.openxmlformats.org/officeDocument/2006/relationships/slideLayout" Target="../slideLayouts/slideLayout234.xml"/><Relationship Id="rId244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265" Type="http://schemas.openxmlformats.org/officeDocument/2006/relationships/slideLayout" Target="../slideLayouts/slideLayout276.xml"/><Relationship Id="rId286" Type="http://schemas.openxmlformats.org/officeDocument/2006/relationships/slideLayout" Target="../slideLayouts/slideLayout297.xml"/><Relationship Id="rId50" Type="http://schemas.openxmlformats.org/officeDocument/2006/relationships/slideLayout" Target="../slideLayouts/slideLayout61.xml"/><Relationship Id="rId104" Type="http://schemas.openxmlformats.org/officeDocument/2006/relationships/slideLayout" Target="../slideLayouts/slideLayout115.xml"/><Relationship Id="rId125" Type="http://schemas.openxmlformats.org/officeDocument/2006/relationships/slideLayout" Target="../slideLayouts/slideLayout136.xml"/><Relationship Id="rId146" Type="http://schemas.openxmlformats.org/officeDocument/2006/relationships/slideLayout" Target="../slideLayouts/slideLayout157.xml"/><Relationship Id="rId167" Type="http://schemas.openxmlformats.org/officeDocument/2006/relationships/slideLayout" Target="../slideLayouts/slideLayout178.xml"/><Relationship Id="rId188" Type="http://schemas.openxmlformats.org/officeDocument/2006/relationships/slideLayout" Target="../slideLayouts/slideLayout199.xml"/><Relationship Id="rId311" Type="http://schemas.openxmlformats.org/officeDocument/2006/relationships/slideLayout" Target="../slideLayouts/slideLayout322.xml"/><Relationship Id="rId71" Type="http://schemas.openxmlformats.org/officeDocument/2006/relationships/slideLayout" Target="../slideLayouts/slideLayout82.xml"/><Relationship Id="rId92" Type="http://schemas.openxmlformats.org/officeDocument/2006/relationships/slideLayout" Target="../slideLayouts/slideLayout103.xml"/><Relationship Id="rId213" Type="http://schemas.openxmlformats.org/officeDocument/2006/relationships/slideLayout" Target="../slideLayouts/slideLayout224.xml"/><Relationship Id="rId234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255" Type="http://schemas.openxmlformats.org/officeDocument/2006/relationships/slideLayout" Target="../slideLayouts/slideLayout266.xml"/><Relationship Id="rId276" Type="http://schemas.openxmlformats.org/officeDocument/2006/relationships/slideLayout" Target="../slideLayouts/slideLayout287.xml"/><Relationship Id="rId297" Type="http://schemas.openxmlformats.org/officeDocument/2006/relationships/slideLayout" Target="../slideLayouts/slideLayout308.xml"/><Relationship Id="rId40" Type="http://schemas.openxmlformats.org/officeDocument/2006/relationships/slideLayout" Target="../slideLayouts/slideLayout51.xml"/><Relationship Id="rId115" Type="http://schemas.openxmlformats.org/officeDocument/2006/relationships/slideLayout" Target="../slideLayouts/slideLayout126.xml"/><Relationship Id="rId136" Type="http://schemas.openxmlformats.org/officeDocument/2006/relationships/slideLayout" Target="../slideLayouts/slideLayout147.xml"/><Relationship Id="rId157" Type="http://schemas.openxmlformats.org/officeDocument/2006/relationships/slideLayout" Target="../slideLayouts/slideLayout168.xml"/><Relationship Id="rId178" Type="http://schemas.openxmlformats.org/officeDocument/2006/relationships/slideLayout" Target="../slideLayouts/slideLayout189.xml"/><Relationship Id="rId301" Type="http://schemas.openxmlformats.org/officeDocument/2006/relationships/slideLayout" Target="../slideLayouts/slideLayout312.xml"/><Relationship Id="rId61" Type="http://schemas.openxmlformats.org/officeDocument/2006/relationships/slideLayout" Target="../slideLayouts/slideLayout72.xml"/><Relationship Id="rId82" Type="http://schemas.openxmlformats.org/officeDocument/2006/relationships/slideLayout" Target="../slideLayouts/slideLayout93.xml"/><Relationship Id="rId199" Type="http://schemas.openxmlformats.org/officeDocument/2006/relationships/slideLayout" Target="../slideLayouts/slideLayout210.xml"/><Relationship Id="rId203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30.xml"/><Relationship Id="rId224" Type="http://schemas.openxmlformats.org/officeDocument/2006/relationships/slideLayout" Target="../slideLayouts/slideLayout235.xml"/><Relationship Id="rId245" Type="http://schemas.openxmlformats.org/officeDocument/2006/relationships/slideLayout" Target="../slideLayouts/slideLayout256.xml"/><Relationship Id="rId266" Type="http://schemas.openxmlformats.org/officeDocument/2006/relationships/slideLayout" Target="../slideLayouts/slideLayout277.xml"/><Relationship Id="rId287" Type="http://schemas.openxmlformats.org/officeDocument/2006/relationships/slideLayout" Target="../slideLayouts/slideLayout298.xml"/><Relationship Id="rId30" Type="http://schemas.openxmlformats.org/officeDocument/2006/relationships/slideLayout" Target="../slideLayouts/slideLayout41.xml"/><Relationship Id="rId105" Type="http://schemas.openxmlformats.org/officeDocument/2006/relationships/slideLayout" Target="../slideLayouts/slideLayout116.xml"/><Relationship Id="rId126" Type="http://schemas.openxmlformats.org/officeDocument/2006/relationships/slideLayout" Target="../slideLayouts/slideLayout137.xml"/><Relationship Id="rId147" Type="http://schemas.openxmlformats.org/officeDocument/2006/relationships/slideLayout" Target="../slideLayouts/slideLayout158.xml"/><Relationship Id="rId168" Type="http://schemas.openxmlformats.org/officeDocument/2006/relationships/slideLayout" Target="../slideLayouts/slideLayout179.xml"/><Relationship Id="rId312" Type="http://schemas.openxmlformats.org/officeDocument/2006/relationships/slideLayout" Target="../slideLayouts/slideLayout323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93" Type="http://schemas.openxmlformats.org/officeDocument/2006/relationships/slideLayout" Target="../slideLayouts/slideLayout104.xml"/><Relationship Id="rId189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4.xml"/><Relationship Id="rId214" Type="http://schemas.openxmlformats.org/officeDocument/2006/relationships/slideLayout" Target="../slideLayouts/slideLayout225.xml"/><Relationship Id="rId235" Type="http://schemas.openxmlformats.org/officeDocument/2006/relationships/slideLayout" Target="../slideLayouts/slideLayout246.xml"/><Relationship Id="rId256" Type="http://schemas.openxmlformats.org/officeDocument/2006/relationships/slideLayout" Target="../slideLayouts/slideLayout267.xml"/><Relationship Id="rId277" Type="http://schemas.openxmlformats.org/officeDocument/2006/relationships/slideLayout" Target="../slideLayouts/slideLayout288.xml"/><Relationship Id="rId298" Type="http://schemas.openxmlformats.org/officeDocument/2006/relationships/slideLayout" Target="../slideLayouts/slideLayout309.xml"/><Relationship Id="rId116" Type="http://schemas.openxmlformats.org/officeDocument/2006/relationships/slideLayout" Target="../slideLayouts/slideLayout127.xml"/><Relationship Id="rId137" Type="http://schemas.openxmlformats.org/officeDocument/2006/relationships/slideLayout" Target="../slideLayouts/slideLayout148.xml"/><Relationship Id="rId158" Type="http://schemas.openxmlformats.org/officeDocument/2006/relationships/slideLayout" Target="../slideLayouts/slideLayout169.xml"/><Relationship Id="rId302" Type="http://schemas.openxmlformats.org/officeDocument/2006/relationships/slideLayout" Target="../slideLayouts/slideLayout313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62" Type="http://schemas.openxmlformats.org/officeDocument/2006/relationships/slideLayout" Target="../slideLayouts/slideLayout73.xml"/><Relationship Id="rId83" Type="http://schemas.openxmlformats.org/officeDocument/2006/relationships/slideLayout" Target="../slideLayouts/slideLayout94.xml"/><Relationship Id="rId179" Type="http://schemas.openxmlformats.org/officeDocument/2006/relationships/slideLayout" Target="../slideLayouts/slideLayout190.xml"/><Relationship Id="rId190" Type="http://schemas.openxmlformats.org/officeDocument/2006/relationships/slideLayout" Target="../slideLayouts/slideLayout201.xml"/><Relationship Id="rId204" Type="http://schemas.openxmlformats.org/officeDocument/2006/relationships/slideLayout" Target="../slideLayouts/slideLayout215.xml"/><Relationship Id="rId225" Type="http://schemas.openxmlformats.org/officeDocument/2006/relationships/slideLayout" Target="../slideLayouts/slideLayout236.xml"/><Relationship Id="rId246" Type="http://schemas.openxmlformats.org/officeDocument/2006/relationships/slideLayout" Target="../slideLayouts/slideLayout257.xml"/><Relationship Id="rId267" Type="http://schemas.openxmlformats.org/officeDocument/2006/relationships/slideLayout" Target="../slideLayouts/slideLayout278.xml"/><Relationship Id="rId288" Type="http://schemas.openxmlformats.org/officeDocument/2006/relationships/slideLayout" Target="../slideLayouts/slideLayout299.xml"/><Relationship Id="rId106" Type="http://schemas.openxmlformats.org/officeDocument/2006/relationships/slideLayout" Target="../slideLayouts/slideLayout117.xml"/><Relationship Id="rId127" Type="http://schemas.openxmlformats.org/officeDocument/2006/relationships/slideLayout" Target="../slideLayouts/slideLayout138.xml"/><Relationship Id="rId313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52" Type="http://schemas.openxmlformats.org/officeDocument/2006/relationships/slideLayout" Target="../slideLayouts/slideLayout63.xml"/><Relationship Id="rId73" Type="http://schemas.openxmlformats.org/officeDocument/2006/relationships/slideLayout" Target="../slideLayouts/slideLayout84.xml"/><Relationship Id="rId94" Type="http://schemas.openxmlformats.org/officeDocument/2006/relationships/slideLayout" Target="../slideLayouts/slideLayout105.xml"/><Relationship Id="rId148" Type="http://schemas.openxmlformats.org/officeDocument/2006/relationships/slideLayout" Target="../slideLayouts/slideLayout159.xml"/><Relationship Id="rId169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5.xml"/><Relationship Id="rId180" Type="http://schemas.openxmlformats.org/officeDocument/2006/relationships/slideLayout" Target="../slideLayouts/slideLayout191.xml"/><Relationship Id="rId215" Type="http://schemas.openxmlformats.org/officeDocument/2006/relationships/slideLayout" Target="../slideLayouts/slideLayout226.xml"/><Relationship Id="rId236" Type="http://schemas.openxmlformats.org/officeDocument/2006/relationships/slideLayout" Target="../slideLayouts/slideLayout247.xml"/><Relationship Id="rId257" Type="http://schemas.openxmlformats.org/officeDocument/2006/relationships/slideLayout" Target="../slideLayouts/slideLayout268.xml"/><Relationship Id="rId278" Type="http://schemas.openxmlformats.org/officeDocument/2006/relationships/slideLayout" Target="../slideLayouts/slideLayout289.xml"/><Relationship Id="rId303" Type="http://schemas.openxmlformats.org/officeDocument/2006/relationships/slideLayout" Target="../slideLayouts/slideLayout314.xml"/><Relationship Id="rId42" Type="http://schemas.openxmlformats.org/officeDocument/2006/relationships/slideLayout" Target="../slideLayouts/slideLayout53.xml"/><Relationship Id="rId84" Type="http://schemas.openxmlformats.org/officeDocument/2006/relationships/slideLayout" Target="../slideLayouts/slideLayout95.xml"/><Relationship Id="rId138" Type="http://schemas.openxmlformats.org/officeDocument/2006/relationships/slideLayout" Target="../slideLayouts/slideLayout149.xml"/><Relationship Id="rId191" Type="http://schemas.openxmlformats.org/officeDocument/2006/relationships/slideLayout" Target="../slideLayouts/slideLayout202.xml"/><Relationship Id="rId205" Type="http://schemas.openxmlformats.org/officeDocument/2006/relationships/slideLayout" Target="../slideLayouts/slideLayout216.xml"/><Relationship Id="rId247" Type="http://schemas.openxmlformats.org/officeDocument/2006/relationships/slideLayout" Target="../slideLayouts/slideLayout258.xml"/><Relationship Id="rId107" Type="http://schemas.openxmlformats.org/officeDocument/2006/relationships/slideLayout" Target="../slideLayouts/slideLayout118.xml"/><Relationship Id="rId289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22.xml"/><Relationship Id="rId53" Type="http://schemas.openxmlformats.org/officeDocument/2006/relationships/slideLayout" Target="../slideLayouts/slideLayout64.xml"/><Relationship Id="rId149" Type="http://schemas.openxmlformats.org/officeDocument/2006/relationships/slideLayout" Target="../slideLayouts/slideLayout160.xml"/><Relationship Id="rId314" Type="http://schemas.openxmlformats.org/officeDocument/2006/relationships/slideLayout" Target="../slideLayouts/slideLayout325.xml"/><Relationship Id="rId95" Type="http://schemas.openxmlformats.org/officeDocument/2006/relationships/slideLayout" Target="../slideLayouts/slideLayout106.xml"/><Relationship Id="rId160" Type="http://schemas.openxmlformats.org/officeDocument/2006/relationships/slideLayout" Target="../slideLayouts/slideLayout171.xml"/><Relationship Id="rId216" Type="http://schemas.openxmlformats.org/officeDocument/2006/relationships/slideLayout" Target="../slideLayouts/slideLayout227.xml"/><Relationship Id="rId258" Type="http://schemas.openxmlformats.org/officeDocument/2006/relationships/slideLayout" Target="../slideLayouts/slideLayout269.xml"/><Relationship Id="rId22" Type="http://schemas.openxmlformats.org/officeDocument/2006/relationships/slideLayout" Target="../slideLayouts/slideLayout33.xml"/><Relationship Id="rId64" Type="http://schemas.openxmlformats.org/officeDocument/2006/relationships/slideLayout" Target="../slideLayouts/slideLayout75.xml"/><Relationship Id="rId118" Type="http://schemas.openxmlformats.org/officeDocument/2006/relationships/slideLayout" Target="../slideLayouts/slideLayout129.xml"/><Relationship Id="rId171" Type="http://schemas.openxmlformats.org/officeDocument/2006/relationships/slideLayout" Target="../slideLayouts/slideLayout182.xml"/><Relationship Id="rId227" Type="http://schemas.openxmlformats.org/officeDocument/2006/relationships/slideLayout" Target="../slideLayouts/slideLayout238.xml"/><Relationship Id="rId269" Type="http://schemas.openxmlformats.org/officeDocument/2006/relationships/slideLayout" Target="../slideLayouts/slideLayout280.xml"/><Relationship Id="rId33" Type="http://schemas.openxmlformats.org/officeDocument/2006/relationships/slideLayout" Target="../slideLayouts/slideLayout44.xml"/><Relationship Id="rId129" Type="http://schemas.openxmlformats.org/officeDocument/2006/relationships/slideLayout" Target="../slideLayouts/slideLayout140.xml"/><Relationship Id="rId280" Type="http://schemas.openxmlformats.org/officeDocument/2006/relationships/slideLayout" Target="../slideLayouts/slideLayout291.xml"/><Relationship Id="rId75" Type="http://schemas.openxmlformats.org/officeDocument/2006/relationships/slideLayout" Target="../slideLayouts/slideLayout86.xml"/><Relationship Id="rId140" Type="http://schemas.openxmlformats.org/officeDocument/2006/relationships/slideLayout" Target="../slideLayouts/slideLayout151.xml"/><Relationship Id="rId182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7.xml"/><Relationship Id="rId238" Type="http://schemas.openxmlformats.org/officeDocument/2006/relationships/slideLayout" Target="../slideLayouts/slideLayout249.xml"/><Relationship Id="rId291" Type="http://schemas.openxmlformats.org/officeDocument/2006/relationships/slideLayout" Target="../slideLayouts/slideLayout302.xml"/><Relationship Id="rId305" Type="http://schemas.openxmlformats.org/officeDocument/2006/relationships/slideLayout" Target="../slideLayouts/slideLayout316.xml"/><Relationship Id="rId44" Type="http://schemas.openxmlformats.org/officeDocument/2006/relationships/slideLayout" Target="../slideLayouts/slideLayout55.xml"/><Relationship Id="rId86" Type="http://schemas.openxmlformats.org/officeDocument/2006/relationships/slideLayout" Target="../slideLayouts/slideLayout97.xml"/><Relationship Id="rId151" Type="http://schemas.openxmlformats.org/officeDocument/2006/relationships/slideLayout" Target="../slideLayouts/slideLayout162.xml"/><Relationship Id="rId193" Type="http://schemas.openxmlformats.org/officeDocument/2006/relationships/slideLayout" Target="../slideLayouts/slideLayout204.xml"/><Relationship Id="rId207" Type="http://schemas.openxmlformats.org/officeDocument/2006/relationships/slideLayout" Target="../slideLayouts/slideLayout218.xml"/><Relationship Id="rId249" Type="http://schemas.openxmlformats.org/officeDocument/2006/relationships/slideLayout" Target="../slideLayouts/slideLayout260.xml"/><Relationship Id="rId13" Type="http://schemas.openxmlformats.org/officeDocument/2006/relationships/slideLayout" Target="../slideLayouts/slideLayout24.xml"/><Relationship Id="rId109" Type="http://schemas.openxmlformats.org/officeDocument/2006/relationships/slideLayout" Target="../slideLayouts/slideLayout120.xml"/><Relationship Id="rId260" Type="http://schemas.openxmlformats.org/officeDocument/2006/relationships/slideLayout" Target="../slideLayouts/slideLayout271.xml"/><Relationship Id="rId316" Type="http://schemas.openxmlformats.org/officeDocument/2006/relationships/slideLayout" Target="../slideLayouts/slideLayout3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36.xml"/><Relationship Id="rId10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13" Type="http://schemas.openxmlformats.org/officeDocument/2006/relationships/slideLayout" Target="../slideLayouts/slideLayout355.xml"/><Relationship Id="rId3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49.xml"/><Relationship Id="rId12" Type="http://schemas.openxmlformats.org/officeDocument/2006/relationships/slideLayout" Target="../slideLayouts/slideLayout354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44.xml"/><Relationship Id="rId16" Type="http://schemas.openxmlformats.org/officeDocument/2006/relationships/slideLayout" Target="../slideLayouts/slideLayout358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347.xml"/><Relationship Id="rId15" Type="http://schemas.openxmlformats.org/officeDocument/2006/relationships/slideLayout" Target="../slideLayouts/slideLayout357.xml"/><Relationship Id="rId10" Type="http://schemas.openxmlformats.org/officeDocument/2006/relationships/slideLayout" Target="../slideLayouts/slideLayout352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Relationship Id="rId14" Type="http://schemas.openxmlformats.org/officeDocument/2006/relationships/slideLayout" Target="../slideLayouts/slideLayout35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59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36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64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8" r:id="rId1"/>
    <p:sldLayoutId id="2147485577" r:id="rId2"/>
    <p:sldLayoutId id="2147485576" r:id="rId3"/>
    <p:sldLayoutId id="2147485575" r:id="rId4"/>
    <p:sldLayoutId id="2147485574" r:id="rId5"/>
    <p:sldLayoutId id="2147485573" r:id="rId6"/>
    <p:sldLayoutId id="2147485572" r:id="rId7"/>
    <p:sldLayoutId id="2147485571" r:id="rId8"/>
    <p:sldLayoutId id="2147485570" r:id="rId9"/>
    <p:sldLayoutId id="2147485569" r:id="rId10"/>
    <p:sldLayoutId id="21474855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3894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1" r:id="rId1"/>
    <p:sldLayoutId id="2147486032" r:id="rId2"/>
    <p:sldLayoutId id="2147486033" r:id="rId3"/>
    <p:sldLayoutId id="2147486034" r:id="rId4"/>
    <p:sldLayoutId id="2147486035" r:id="rId5"/>
    <p:sldLayoutId id="2147486036" r:id="rId6"/>
    <p:sldLayoutId id="2147486037" r:id="rId7"/>
    <p:sldLayoutId id="2147486038" r:id="rId8"/>
    <p:sldLayoutId id="2147486039" r:id="rId9"/>
    <p:sldLayoutId id="2147486040" r:id="rId10"/>
    <p:sldLayoutId id="2147486041" r:id="rId11"/>
    <p:sldLayoutId id="2147486042" r:id="rId12"/>
    <p:sldLayoutId id="2147486043" r:id="rId13"/>
    <p:sldLayoutId id="2147486044" r:id="rId14"/>
    <p:sldLayoutId id="2147486045" r:id="rId15"/>
    <p:sldLayoutId id="2147486046" r:id="rId16"/>
    <p:sldLayoutId id="2147486047" r:id="rId17"/>
    <p:sldLayoutId id="2147486048" r:id="rId18"/>
    <p:sldLayoutId id="2147486049" r:id="rId19"/>
    <p:sldLayoutId id="2147486050" r:id="rId20"/>
    <p:sldLayoutId id="2147486051" r:id="rId21"/>
    <p:sldLayoutId id="2147485074" r:id="rId22"/>
    <p:sldLayoutId id="2147485075" r:id="rId23"/>
    <p:sldLayoutId id="2147485076" r:id="rId24"/>
    <p:sldLayoutId id="2147485077" r:id="rId25"/>
    <p:sldLayoutId id="2147485078" r:id="rId26"/>
    <p:sldLayoutId id="2147485079" r:id="rId27"/>
    <p:sldLayoutId id="2147485080" r:id="rId28"/>
    <p:sldLayoutId id="2147485081" r:id="rId29"/>
    <p:sldLayoutId id="2147485082" r:id="rId30"/>
    <p:sldLayoutId id="2147485083" r:id="rId31"/>
    <p:sldLayoutId id="2147484596" r:id="rId32"/>
    <p:sldLayoutId id="2147484835" r:id="rId33"/>
    <p:sldLayoutId id="2147484598" r:id="rId34"/>
    <p:sldLayoutId id="2147484626" r:id="rId35"/>
    <p:sldLayoutId id="2147484836" r:id="rId36"/>
    <p:sldLayoutId id="2147484837" r:id="rId37"/>
    <p:sldLayoutId id="2147484601" r:id="rId38"/>
    <p:sldLayoutId id="2147484602" r:id="rId39"/>
    <p:sldLayoutId id="2147484603" r:id="rId40"/>
    <p:sldLayoutId id="2147484604" r:id="rId41"/>
    <p:sldLayoutId id="2147484839" r:id="rId42"/>
    <p:sldLayoutId id="2147485538" r:id="rId43"/>
    <p:sldLayoutId id="2147485539" r:id="rId44"/>
    <p:sldLayoutId id="2147485540" r:id="rId45"/>
    <p:sldLayoutId id="2147485541" r:id="rId46"/>
    <p:sldLayoutId id="2147485542" r:id="rId47"/>
    <p:sldLayoutId id="2147485543" r:id="rId48"/>
    <p:sldLayoutId id="2147485544" r:id="rId49"/>
    <p:sldLayoutId id="2147485545" r:id="rId50"/>
    <p:sldLayoutId id="2147485546" r:id="rId51"/>
    <p:sldLayoutId id="2147485547" r:id="rId52"/>
    <p:sldLayoutId id="2147484384" r:id="rId53"/>
    <p:sldLayoutId id="2147485405" r:id="rId54"/>
    <p:sldLayoutId id="2147484559" r:id="rId55"/>
    <p:sldLayoutId id="2147484385" r:id="rId56"/>
    <p:sldLayoutId id="2147485406" r:id="rId57"/>
    <p:sldLayoutId id="2147484387" r:id="rId58"/>
    <p:sldLayoutId id="2147484388" r:id="rId59"/>
    <p:sldLayoutId id="2147484389" r:id="rId60"/>
    <p:sldLayoutId id="2147484390" r:id="rId61"/>
    <p:sldLayoutId id="2147484391" r:id="rId62"/>
    <p:sldLayoutId id="2147484392" r:id="rId63"/>
    <p:sldLayoutId id="2147484353" r:id="rId64"/>
    <p:sldLayoutId id="2147484627" r:id="rId65"/>
    <p:sldLayoutId id="2147485564" r:id="rId66"/>
    <p:sldLayoutId id="2147484838" r:id="rId67"/>
    <p:sldLayoutId id="2147485548" r:id="rId68"/>
    <p:sldLayoutId id="2147485549" r:id="rId69"/>
    <p:sldLayoutId id="2147485550" r:id="rId70"/>
    <p:sldLayoutId id="2147485551" r:id="rId71"/>
    <p:sldLayoutId id="2147485552" r:id="rId72"/>
    <p:sldLayoutId id="2147484634" r:id="rId73"/>
    <p:sldLayoutId id="2147484635" r:id="rId74"/>
    <p:sldLayoutId id="2147484238" r:id="rId75"/>
    <p:sldLayoutId id="2147484200" r:id="rId76"/>
    <p:sldLayoutId id="2147484840" r:id="rId77"/>
    <p:sldLayoutId id="2147484202" r:id="rId78"/>
    <p:sldLayoutId id="2147484203" r:id="rId79"/>
    <p:sldLayoutId id="2147484204" r:id="rId80"/>
    <p:sldLayoutId id="2147484205" r:id="rId81"/>
    <p:sldLayoutId id="2147484206" r:id="rId82"/>
    <p:sldLayoutId id="2147484237" r:id="rId83"/>
    <p:sldLayoutId id="2147484208" r:id="rId84"/>
    <p:sldLayoutId id="2147485064" r:id="rId85"/>
    <p:sldLayoutId id="2147485065" r:id="rId86"/>
    <p:sldLayoutId id="2147483741" r:id="rId87"/>
    <p:sldLayoutId id="2147485066" r:id="rId88"/>
    <p:sldLayoutId id="2147485067" r:id="rId89"/>
    <p:sldLayoutId id="2147485068" r:id="rId90"/>
    <p:sldLayoutId id="2147485069" r:id="rId91"/>
    <p:sldLayoutId id="2147485352" r:id="rId92"/>
    <p:sldLayoutId id="2147485070" r:id="rId93"/>
    <p:sldLayoutId id="2147483736" r:id="rId94"/>
    <p:sldLayoutId id="2147485071" r:id="rId95"/>
    <p:sldLayoutId id="2147485553" r:id="rId96"/>
    <p:sldLayoutId id="2147485554" r:id="rId97"/>
    <p:sldLayoutId id="2147485555" r:id="rId98"/>
    <p:sldLayoutId id="2147484841" r:id="rId99"/>
    <p:sldLayoutId id="2147484842" r:id="rId100"/>
    <p:sldLayoutId id="2147484362" r:id="rId101"/>
    <p:sldLayoutId id="2147484363" r:id="rId102"/>
    <p:sldLayoutId id="2147485557" r:id="rId103"/>
    <p:sldLayoutId id="2147484365" r:id="rId104"/>
    <p:sldLayoutId id="2147484366" r:id="rId105"/>
    <p:sldLayoutId id="2147484367" r:id="rId106"/>
    <p:sldLayoutId id="2147485566" r:id="rId107"/>
    <p:sldLayoutId id="2147484351" r:id="rId108"/>
    <p:sldLayoutId id="2147484350" r:id="rId109"/>
    <p:sldLayoutId id="2147484352" r:id="rId110"/>
    <p:sldLayoutId id="2147484829" r:id="rId111"/>
    <p:sldLayoutId id="2147484830" r:id="rId112"/>
    <p:sldLayoutId id="2147484831" r:id="rId113"/>
    <p:sldLayoutId id="2147484843" r:id="rId114"/>
    <p:sldLayoutId id="2147485262" r:id="rId115"/>
    <p:sldLayoutId id="2147484832" r:id="rId116"/>
    <p:sldLayoutId id="2147484355" r:id="rId117"/>
    <p:sldLayoutId id="2147485444" r:id="rId118"/>
    <p:sldLayoutId id="2147484356" r:id="rId119"/>
    <p:sldLayoutId id="2147483885" r:id="rId120"/>
    <p:sldLayoutId id="2147484357" r:id="rId121"/>
    <p:sldLayoutId id="2147484358" r:id="rId122"/>
    <p:sldLayoutId id="2147484359" r:id="rId123"/>
    <p:sldLayoutId id="2147484360" r:id="rId124"/>
    <p:sldLayoutId id="2147484361" r:id="rId125"/>
    <p:sldLayoutId id="2147484393" r:id="rId126"/>
    <p:sldLayoutId id="2147484394" r:id="rId127"/>
    <p:sldLayoutId id="2147483722" r:id="rId128"/>
    <p:sldLayoutId id="2147484258" r:id="rId129"/>
    <p:sldLayoutId id="2147484257" r:id="rId130"/>
    <p:sldLayoutId id="2147485033" r:id="rId131"/>
    <p:sldLayoutId id="2147484254" r:id="rId132"/>
    <p:sldLayoutId id="2147485093" r:id="rId133"/>
    <p:sldLayoutId id="2147484247" r:id="rId134"/>
    <p:sldLayoutId id="2147485580" r:id="rId135"/>
    <p:sldLayoutId id="2147485072" r:id="rId136"/>
    <p:sldLayoutId id="2147485355" r:id="rId137"/>
    <p:sldLayoutId id="2147484248" r:id="rId138"/>
    <p:sldLayoutId id="2147484249" r:id="rId139"/>
    <p:sldLayoutId id="2147484250" r:id="rId140"/>
    <p:sldLayoutId id="2147484251" r:id="rId141"/>
    <p:sldLayoutId id="2147484606" r:id="rId142"/>
    <p:sldLayoutId id="2147486052" r:id="rId143"/>
    <p:sldLayoutId id="2147486053" r:id="rId144"/>
    <p:sldLayoutId id="2147484845" r:id="rId145"/>
    <p:sldLayoutId id="2147484846" r:id="rId146"/>
    <p:sldLayoutId id="2147484566" r:id="rId147"/>
    <p:sldLayoutId id="2147485470" r:id="rId148"/>
    <p:sldLayoutId id="2147484231" r:id="rId149"/>
    <p:sldLayoutId id="2147484268" r:id="rId150"/>
    <p:sldLayoutId id="2147484235" r:id="rId151"/>
    <p:sldLayoutId id="2147484847" r:id="rId152"/>
    <p:sldLayoutId id="2147484245" r:id="rId153"/>
    <p:sldLayoutId id="2147484262" r:id="rId154"/>
    <p:sldLayoutId id="2147483719" r:id="rId155"/>
    <p:sldLayoutId id="2147485238" r:id="rId156"/>
    <p:sldLayoutId id="2147483721" r:id="rId157"/>
    <p:sldLayoutId id="2147484233" r:id="rId158"/>
    <p:sldLayoutId id="2147486054" r:id="rId159"/>
    <p:sldLayoutId id="2147486055" r:id="rId160"/>
    <p:sldLayoutId id="2147486056" r:id="rId161"/>
    <p:sldLayoutId id="2147486057" r:id="rId162"/>
    <p:sldLayoutId id="2147486058" r:id="rId163"/>
    <p:sldLayoutId id="2147486059" r:id="rId164"/>
    <p:sldLayoutId id="2147486060" r:id="rId165"/>
    <p:sldLayoutId id="2147486061" r:id="rId166"/>
    <p:sldLayoutId id="2147486062" r:id="rId167"/>
    <p:sldLayoutId id="2147486063" r:id="rId168"/>
    <p:sldLayoutId id="2147486064" r:id="rId169"/>
    <p:sldLayoutId id="2147486065" r:id="rId170"/>
    <p:sldLayoutId id="2147484821" r:id="rId171"/>
    <p:sldLayoutId id="2147483716" r:id="rId172"/>
    <p:sldLayoutId id="2147485239" r:id="rId173"/>
    <p:sldLayoutId id="2147484848" r:id="rId174"/>
    <p:sldLayoutId id="2147483717" r:id="rId175"/>
    <p:sldLayoutId id="2147483718" r:id="rId176"/>
    <p:sldLayoutId id="2147484400" r:id="rId177"/>
    <p:sldLayoutId id="2147484401" r:id="rId178"/>
    <p:sldLayoutId id="2147484402" r:id="rId179"/>
    <p:sldLayoutId id="2147484822" r:id="rId180"/>
    <p:sldLayoutId id="2147484849" r:id="rId181"/>
    <p:sldLayoutId id="2147484313" r:id="rId182"/>
    <p:sldLayoutId id="2147484315" r:id="rId183"/>
    <p:sldLayoutId id="2147485242" r:id="rId184"/>
    <p:sldLayoutId id="2147485263" r:id="rId185"/>
    <p:sldLayoutId id="2147484850" r:id="rId186"/>
    <p:sldLayoutId id="2147485243" r:id="rId187"/>
    <p:sldLayoutId id="2147485244" r:id="rId188"/>
    <p:sldLayoutId id="2147485245" r:id="rId189"/>
    <p:sldLayoutId id="2147484488" r:id="rId190"/>
    <p:sldLayoutId id="2147485246" r:id="rId191"/>
    <p:sldLayoutId id="2147485247" r:id="rId192"/>
    <p:sldLayoutId id="2147484851" r:id="rId193"/>
    <p:sldLayoutId id="2147485248" r:id="rId194"/>
    <p:sldLayoutId id="2147484335" r:id="rId195"/>
    <p:sldLayoutId id="2147484336" r:id="rId196"/>
    <p:sldLayoutId id="2147484337" r:id="rId197"/>
    <p:sldLayoutId id="2147484852" r:id="rId198"/>
    <p:sldLayoutId id="2147484853" r:id="rId199"/>
    <p:sldLayoutId id="2147484339" r:id="rId200"/>
    <p:sldLayoutId id="2147484340" r:id="rId201"/>
    <p:sldLayoutId id="2147484341" r:id="rId202"/>
    <p:sldLayoutId id="2147484342" r:id="rId203"/>
    <p:sldLayoutId id="2147484343" r:id="rId204"/>
    <p:sldLayoutId id="2147484344" r:id="rId205"/>
    <p:sldLayoutId id="2147485468" r:id="rId206"/>
    <p:sldLayoutId id="2147485556" r:id="rId207"/>
    <p:sldLayoutId id="2147484364" r:id="rId208"/>
    <p:sldLayoutId id="2147485358" r:id="rId209"/>
    <p:sldLayoutId id="2147485558" r:id="rId210"/>
    <p:sldLayoutId id="2147485559" r:id="rId211"/>
    <p:sldLayoutId id="2147485560" r:id="rId212"/>
    <p:sldLayoutId id="2147485385" r:id="rId213"/>
    <p:sldLayoutId id="2147485561" r:id="rId214"/>
    <p:sldLayoutId id="2147485469" r:id="rId215"/>
    <p:sldLayoutId id="2147484570" r:id="rId216"/>
    <p:sldLayoutId id="2147484222" r:id="rId217"/>
    <p:sldLayoutId id="2147484854" r:id="rId218"/>
    <p:sldLayoutId id="2147484855" r:id="rId219"/>
    <p:sldLayoutId id="2147484584" r:id="rId220"/>
    <p:sldLayoutId id="2147483868" r:id="rId221"/>
    <p:sldLayoutId id="2147484585" r:id="rId222"/>
    <p:sldLayoutId id="2147484586" r:id="rId223"/>
    <p:sldLayoutId id="2147484587" r:id="rId224"/>
    <p:sldLayoutId id="2147484588" r:id="rId225"/>
    <p:sldLayoutId id="2147484592" r:id="rId226"/>
    <p:sldLayoutId id="2147484593" r:id="rId227"/>
    <p:sldLayoutId id="2147484594" r:id="rId228"/>
    <p:sldLayoutId id="2147484595" r:id="rId229"/>
    <p:sldLayoutId id="2147485579" r:id="rId230"/>
    <p:sldLayoutId id="2147485562" r:id="rId231"/>
    <p:sldLayoutId id="2147485563" r:id="rId232"/>
    <p:sldLayoutId id="2147485367" r:id="rId233"/>
    <p:sldLayoutId id="2147485368" r:id="rId234"/>
    <p:sldLayoutId id="2147485369" r:id="rId235"/>
    <p:sldLayoutId id="2147485400" r:id="rId236"/>
    <p:sldLayoutId id="2147485401" r:id="rId237"/>
    <p:sldLayoutId id="2147485402" r:id="rId238"/>
    <p:sldLayoutId id="2147485403" r:id="rId239"/>
    <p:sldLayoutId id="2147484813" r:id="rId240"/>
    <p:sldLayoutId id="2147486066" r:id="rId241"/>
    <p:sldLayoutId id="2147486067" r:id="rId242"/>
    <p:sldLayoutId id="2147486068" r:id="rId243"/>
    <p:sldLayoutId id="2147486069" r:id="rId244"/>
    <p:sldLayoutId id="2147484386" r:id="rId245"/>
    <p:sldLayoutId id="2147484815" r:id="rId246"/>
    <p:sldLayoutId id="2147484816" r:id="rId247"/>
    <p:sldLayoutId id="2147484817" r:id="rId248"/>
    <p:sldLayoutId id="2147484329" r:id="rId249"/>
    <p:sldLayoutId id="2147486070" r:id="rId250"/>
    <p:sldLayoutId id="2147486071" r:id="rId251"/>
    <p:sldLayoutId id="2147486072" r:id="rId252"/>
    <p:sldLayoutId id="2147486073" r:id="rId253"/>
    <p:sldLayoutId id="2147486074" r:id="rId254"/>
    <p:sldLayoutId id="2147486075" r:id="rId255"/>
    <p:sldLayoutId id="2147484330" r:id="rId256"/>
    <p:sldLayoutId id="2147484331" r:id="rId257"/>
    <p:sldLayoutId id="2147484332" r:id="rId258"/>
    <p:sldLayoutId id="2147484485" r:id="rId259"/>
    <p:sldLayoutId id="2147484486" r:id="rId260"/>
    <p:sldLayoutId id="2147484609" r:id="rId261"/>
    <p:sldLayoutId id="2147484477" r:id="rId262"/>
    <p:sldLayoutId id="2147484478" r:id="rId263"/>
    <p:sldLayoutId id="2147484260" r:id="rId264"/>
    <p:sldLayoutId id="2147484856" r:id="rId265"/>
    <p:sldLayoutId id="2147484480" r:id="rId266"/>
    <p:sldLayoutId id="2147484267" r:id="rId267"/>
    <p:sldLayoutId id="2147484481" r:id="rId268"/>
    <p:sldLayoutId id="2147484482" r:id="rId269"/>
    <p:sldLayoutId id="2147484483" r:id="rId270"/>
    <p:sldLayoutId id="2147484484" r:id="rId271"/>
    <p:sldLayoutId id="2147485270" r:id="rId272"/>
    <p:sldLayoutId id="2147485271" r:id="rId273"/>
    <p:sldLayoutId id="2147485272" r:id="rId274"/>
    <p:sldLayoutId id="2147484857" r:id="rId275"/>
    <p:sldLayoutId id="2147485273" r:id="rId276"/>
    <p:sldLayoutId id="2147485274" r:id="rId277"/>
    <p:sldLayoutId id="2147485275" r:id="rId278"/>
    <p:sldLayoutId id="2147485276" r:id="rId279"/>
    <p:sldLayoutId id="2147485277" r:id="rId280"/>
    <p:sldLayoutId id="2147485278" r:id="rId281"/>
    <p:sldLayoutId id="2147483877" r:id="rId282"/>
    <p:sldLayoutId id="2147483878" r:id="rId283"/>
    <p:sldLayoutId id="2147484652" r:id="rId284"/>
    <p:sldLayoutId id="2147484653" r:id="rId285"/>
    <p:sldLayoutId id="2147486076" r:id="rId286"/>
    <p:sldLayoutId id="2147486077" r:id="rId287"/>
    <p:sldLayoutId id="2147484654" r:id="rId288"/>
    <p:sldLayoutId id="2147484655" r:id="rId289"/>
    <p:sldLayoutId id="2147486078" r:id="rId290"/>
    <p:sldLayoutId id="2147484607" r:id="rId291"/>
    <p:sldLayoutId id="2147484608" r:id="rId292"/>
    <p:sldLayoutId id="2147484605" r:id="rId293"/>
    <p:sldLayoutId id="2147484833" r:id="rId294"/>
    <p:sldLayoutId id="2147484834" r:id="rId295"/>
    <p:sldLayoutId id="2147484349" r:id="rId296"/>
    <p:sldLayoutId id="2147485213" r:id="rId297"/>
    <p:sldLayoutId id="2147485214" r:id="rId298"/>
    <p:sldLayoutId id="2147485179" r:id="rId299"/>
    <p:sldLayoutId id="2147485354" r:id="rId300"/>
    <p:sldLayoutId id="2147486079" r:id="rId301"/>
    <p:sldLayoutId id="2147485215" r:id="rId302"/>
    <p:sldLayoutId id="2147485425" r:id="rId303"/>
    <p:sldLayoutId id="2147485903" r:id="rId304"/>
    <p:sldLayoutId id="2147485904" r:id="rId305"/>
    <p:sldLayoutId id="2147484354" r:id="rId306"/>
    <p:sldLayoutId id="2147484572" r:id="rId307"/>
    <p:sldLayoutId id="2147485391" r:id="rId308"/>
    <p:sldLayoutId id="2147485392" r:id="rId309"/>
    <p:sldLayoutId id="2147484376" r:id="rId310"/>
    <p:sldLayoutId id="2147485905" r:id="rId311"/>
    <p:sldLayoutId id="2147485906" r:id="rId312"/>
    <p:sldLayoutId id="2147485565" r:id="rId313"/>
    <p:sldLayoutId id="2147485393" r:id="rId314"/>
    <p:sldLayoutId id="2147485394" r:id="rId315"/>
    <p:sldLayoutId id="2147485395" r:id="rId316"/>
    <p:sldLayoutId id="2147484377" r:id="rId317"/>
    <p:sldLayoutId id="2147484378" r:id="rId318"/>
    <p:sldLayoutId id="2147484379" r:id="rId319"/>
    <p:sldLayoutId id="2147485396" r:id="rId32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72D13B-FFCB-4650-AD3C-CB5037352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CA9470-DF15-46A1-BF0E-8A5367A4B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047CB-E94D-482F-BACA-681E96C0EC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45051-2045-45DA-935E-2E3CA1A69ADC}" type="datetimeFigureOut">
              <a:rPr lang="en-US" smtClean="0"/>
              <a:t>8/2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FDA4B5-E797-42FC-8B7A-2294DF24A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8ED201-6D0E-422C-B4EC-566A3DC29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CD31F4-64FA-4BA0-9498-67783267A8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696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6004" r:id="rId8"/>
    <p:sldLayoutId id="2147483663" r:id="rId9"/>
    <p:sldLayoutId id="2147483662" r:id="rId10"/>
    <p:sldLayoutId id="2147483661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F863EC-D297-4738-AE8D-C49960DB2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6D2CEE-19EC-49D3-9CD4-AA91436FC9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 algn="l" defTabSz="685749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7C2F3-FDC2-4C81-A78E-CD648D4C53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997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6084" r:id="rId3"/>
    <p:sldLayoutId id="2147486085" r:id="rId4"/>
    <p:sldLayoutId id="2147486086" r:id="rId5"/>
    <p:sldLayoutId id="2147486082" r:id="rId6"/>
    <p:sldLayoutId id="2147483679" r:id="rId7"/>
    <p:sldLayoutId id="2147483680" r:id="rId8"/>
    <p:sldLayoutId id="2147483681" r:id="rId9"/>
    <p:sldLayoutId id="2147483683" r:id="rId10"/>
    <p:sldLayoutId id="2147483682" r:id="rId11"/>
    <p:sldLayoutId id="2147483684" r:id="rId12"/>
    <p:sldLayoutId id="2147483685" r:id="rId13"/>
    <p:sldLayoutId id="2147483689" r:id="rId14"/>
    <p:sldLayoutId id="2147483688" r:id="rId15"/>
    <p:sldLayoutId id="2147483713" r:id="rId16"/>
  </p:sldLayoutIdLst>
  <p:hf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None/>
        <a:defRPr lang="en-US" sz="1800" kern="1200" dirty="0">
          <a:solidFill>
            <a:schemeClr val="bg2"/>
          </a:solidFill>
          <a:latin typeface="+mn-lt"/>
          <a:ea typeface="+mn-ea"/>
          <a:cs typeface="+mn-cs"/>
        </a:defRPr>
      </a:lvl1pPr>
      <a:lvl2pPr marL="171438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350" b="1" kern="1200">
          <a:solidFill>
            <a:schemeClr val="accent2"/>
          </a:solidFill>
          <a:latin typeface="+mn-lt"/>
          <a:ea typeface="+mn-ea"/>
          <a:cs typeface="+mn-cs"/>
        </a:defRPr>
      </a:lvl2pPr>
      <a:lvl3pPr marL="600030" indent="-209535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050" b="1" kern="1200">
          <a:solidFill>
            <a:schemeClr val="accent2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050" b="1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6708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 defTabSz="292100">
              <a:lnSpc>
                <a:spcPct val="100000"/>
              </a:lnSpc>
              <a:spcBef>
                <a:spcPts val="0"/>
              </a:spcBef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7" r:id="rId1"/>
    <p:sldLayoutId id="2147485867" r:id="rId2"/>
    <p:sldLayoutId id="2147486081" r:id="rId3"/>
    <p:sldLayoutId id="2147486003" r:id="rId4"/>
  </p:sldLayoutIdLst>
  <p:transition spd="med"/>
  <p:txStyles>
    <p:titleStyle>
      <a:lvl1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492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1pPr>
      <a:lvl2pPr marL="6540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2pPr>
      <a:lvl3pPr marL="9588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3pPr>
      <a:lvl4pPr marL="12636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4pPr>
      <a:lvl5pPr marL="15684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5pPr>
      <a:lvl6pPr marL="18732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6pPr>
      <a:lvl7pPr marL="21780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7pPr>
      <a:lvl8pPr marL="24828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8pPr>
      <a:lvl9pPr marL="27876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367868"/>
            <a:ext cx="12192000" cy="4901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6" name="Oval 15"/>
          <p:cNvSpPr/>
          <p:nvPr userDrawn="1"/>
        </p:nvSpPr>
        <p:spPr>
          <a:xfrm>
            <a:off x="311911" y="6482168"/>
            <a:ext cx="319219" cy="2394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311912" y="6482168"/>
            <a:ext cx="319219" cy="239414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accent1"/>
                </a:solidFill>
              </a:rPr>
              <a:t>‹#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31129" y="6490750"/>
            <a:ext cx="7633912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1"/>
                </a:solidFill>
                <a:latin typeface="+mn-lt"/>
              </a:rPr>
              <a:t>©</a:t>
            </a:r>
            <a:r>
              <a:rPr lang="en-US" sz="900" baseline="0" dirty="0">
                <a:solidFill>
                  <a:schemeClr val="bg1"/>
                </a:solidFill>
                <a:latin typeface="+mn-lt"/>
              </a:rPr>
              <a:t> Regional One Health</a:t>
            </a:r>
            <a:endParaRPr lang="en-US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85725"/>
            <a:ext cx="12192000" cy="496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177777"/>
            <a:ext cx="12192000" cy="496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1989" y="6482168"/>
            <a:ext cx="2275211" cy="245066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0" y="6326507"/>
            <a:ext cx="121920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4826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8" r:id="rId2"/>
    <p:sldLayoutId id="2147483672" r:id="rId3"/>
    <p:sldLayoutId id="2147483675" r:id="rId4"/>
    <p:sldLayoutId id="2147483676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 userDrawn="1">
          <p15:clr>
            <a:srgbClr val="F26B43"/>
          </p15:clr>
        </p15:guide>
        <p15:guide id="2" pos="7488" userDrawn="1">
          <p15:clr>
            <a:srgbClr val="F26B43"/>
          </p15:clr>
        </p15:guide>
        <p15:guide id="3" orient="horz" pos="144" userDrawn="1">
          <p15:clr>
            <a:srgbClr val="F26B43"/>
          </p15:clr>
        </p15:guide>
        <p15:guide id="4" orient="horz" pos="4164" userDrawn="1">
          <p15:clr>
            <a:srgbClr val="F26B43"/>
          </p15:clr>
        </p15:guide>
        <p15:guide id="5" orient="horz" pos="3852" userDrawn="1">
          <p15:clr>
            <a:srgbClr val="F26B43"/>
          </p15:clr>
        </p15:guide>
        <p15:guide id="6" orient="horz" pos="504" userDrawn="1">
          <p15:clr>
            <a:srgbClr val="F26B43"/>
          </p15:clr>
        </p15:guide>
        <p15:guide id="7" orient="horz" pos="576" userDrawn="1">
          <p15:clr>
            <a:srgbClr val="F26B43"/>
          </p15:clr>
        </p15:guide>
        <p15:guide id="8" orient="horz" pos="40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9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ilpqc.org/family-engagement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8.xml"/><Relationship Id="rId4" Type="http://schemas.openxmlformats.org/officeDocument/2006/relationships/image" Target="../media/image102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36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emf"/><Relationship Id="rId1" Type="http://schemas.openxmlformats.org/officeDocument/2006/relationships/slideLayout" Target="../slideLayouts/slideLayout36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6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5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</p:spPr>
        <p:txBody>
          <a:bodyPr>
            <a:normAutofit/>
          </a:bodyPr>
          <a:lstStyle/>
          <a:p>
            <a:r>
              <a:rPr lang="en-US" dirty="0">
                <a:ea typeface="Lato Medium"/>
                <a:cs typeface="Lato Medium"/>
              </a:rPr>
              <a:t>BE QI Summer Series Call #2:</a:t>
            </a:r>
            <a:br>
              <a:rPr lang="en-US" dirty="0">
                <a:ea typeface="Lato Medium"/>
                <a:cs typeface="Lato Medium"/>
              </a:rPr>
            </a:br>
            <a:r>
              <a:rPr lang="en-US" dirty="0">
                <a:ea typeface="Lato Medium"/>
                <a:cs typeface="Lato Medium"/>
              </a:rPr>
              <a:t>Patient Partners on QI Teams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ea typeface="Lato"/>
                <a:cs typeface="Lato"/>
              </a:rPr>
              <a:t>Thursday, July 20th, 2023</a:t>
            </a:r>
          </a:p>
        </p:txBody>
      </p:sp>
      <p:pic>
        <p:nvPicPr>
          <p:cNvPr id="5" name="object 10" descr="Woman kissing newborn baby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082" y="1267275"/>
            <a:ext cx="5589946" cy="38374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98462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BC68A55F-7B32-44D8-AEE5-1AF405326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C9BDB-A74D-812E-3A60-90B8F194E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429030"/>
            <a:ext cx="2834640" cy="5457589"/>
          </a:xfrm>
        </p:spPr>
        <p:txBody>
          <a:bodyPr anchor="ctr"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Patient Engagement Leader</a:t>
            </a:r>
            <a:br>
              <a:rPr lang="en-US" sz="4000">
                <a:ea typeface="Lato Medium"/>
                <a:cs typeface="Lato Medium"/>
              </a:rPr>
            </a:br>
            <a:r>
              <a:rPr lang="en-US" sz="4000">
                <a:ea typeface="Lato Medium"/>
                <a:cs typeface="Lato Medium"/>
              </a:rPr>
              <a:t>Recognition at Annual Conference</a:t>
            </a:r>
            <a:endParaRPr lang="en-US" sz="40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1AAA2C-FBBE-42AA-B869-31D524B765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5320" y="6112341"/>
            <a:ext cx="10835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937BBF-9326-4230-AB1B-F1795E3505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045208" y="4686084"/>
            <a:ext cx="54864" cy="2834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53E7C-1EAE-089C-B178-EF089A159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8D7293-577E-0EC8-A1A0-04AE6F8CA1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9348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9965E936-DD85-662D-12CE-45F1D61A62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1374789"/>
              </p:ext>
            </p:extLst>
          </p:nvPr>
        </p:nvGraphicFramePr>
        <p:xfrm>
          <a:off x="4084780" y="357143"/>
          <a:ext cx="7452360" cy="5459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F92B5543-90C1-ED49-473E-D7AC1C672D88}"/>
              </a:ext>
            </a:extLst>
          </p:cNvPr>
          <p:cNvSpPr txBox="1"/>
          <p:nvPr/>
        </p:nvSpPr>
        <p:spPr>
          <a:xfrm>
            <a:off x="12782697" y="3331534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pic>
        <p:nvPicPr>
          <p:cNvPr id="21" name="Graphic 21" descr="Ribbon with solid fill">
            <a:extLst>
              <a:ext uri="{FF2B5EF4-FFF2-40B4-BE49-F238E27FC236}">
                <a16:creationId xmlns:a16="http://schemas.microsoft.com/office/drawing/2014/main" id="{76533722-DA8D-58D8-FC59-CAB882C425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54521" y="355010"/>
            <a:ext cx="1487376" cy="149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030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339F9-8C00-4E72-BF37-180DC20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500257" cy="1325563"/>
          </a:xfrm>
        </p:spPr>
        <p:txBody>
          <a:bodyPr/>
          <a:lstStyle/>
          <a:p>
            <a:r>
              <a:rPr lang="en-US" sz="4000" dirty="0"/>
              <a:t>Once you have identified a patient partner for your BE QI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B37B9D-D6E5-4431-81FA-03BAB365CB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Inform ILPQC </a:t>
            </a:r>
          </a:p>
          <a:p>
            <a:r>
              <a:rPr lang="en-US" sz="2800" dirty="0"/>
              <a:t>We will plan a training for all patient partners (</a:t>
            </a:r>
            <a:r>
              <a:rPr lang="en-US" sz="2800" dirty="0" err="1"/>
              <a:t>ie</a:t>
            </a:r>
            <a:r>
              <a:rPr lang="en-US" sz="2800" dirty="0"/>
              <a:t>. Mamma’s Voices)</a:t>
            </a:r>
          </a:p>
          <a:p>
            <a:r>
              <a:rPr lang="en-US" sz="2800" dirty="0"/>
              <a:t>Invite your patient partner to the ILPQC Annual Conference, 11/2/23</a:t>
            </a:r>
          </a:p>
          <a:p>
            <a:r>
              <a:rPr lang="en-US" sz="2800" dirty="0"/>
              <a:t>ILPQC will cover the conference fee for your teams patient partner</a:t>
            </a:r>
          </a:p>
          <a:p>
            <a:r>
              <a:rPr lang="en-US" sz="2800" dirty="0"/>
              <a:t>Will be a Patient / Community Breakout Session for patient partners</a:t>
            </a:r>
          </a:p>
          <a:p>
            <a:r>
              <a:rPr lang="en-US" sz="2800" dirty="0"/>
              <a:t>All patients partners at Annual Conference will be recogniz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941C55-9CFC-48E2-AE78-E11DA08624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D7DA2C-3D7F-4D5E-83EB-479FFA049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22864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C3851-DC37-E0BA-CCE6-156F4B98F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How can you get started?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8DA14F-FF67-3645-AB26-B27F01CF2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33646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200">
                <a:ea typeface="Lato"/>
                <a:cs typeface="Lato"/>
              </a:rPr>
              <a:t>Utilize the ILPQC Patient / Community Engagement Fact Sheet for tips on how to identify and engage with a patient partner!</a:t>
            </a:r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0F1E67-FF3B-6BA4-F430-56ED6438BF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87910D-3979-BD59-3D3B-E280A5661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A screenshot of a web page&#10;&#10;Description automatically generated">
            <a:extLst>
              <a:ext uri="{FF2B5EF4-FFF2-40B4-BE49-F238E27FC236}">
                <a16:creationId xmlns:a16="http://schemas.microsoft.com/office/drawing/2014/main" id="{769A4BEA-F870-BB07-27D4-BA8EF26AEE2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343" y="1603977"/>
            <a:ext cx="2851030" cy="3642859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Picture 7" descr="A flyer with people and text&#10;&#10;Description automatically generated">
            <a:extLst>
              <a:ext uri="{FF2B5EF4-FFF2-40B4-BE49-F238E27FC236}">
                <a16:creationId xmlns:a16="http://schemas.microsoft.com/office/drawing/2014/main" id="{8513CAC0-537C-302E-4747-3026316355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110" y="1607708"/>
            <a:ext cx="2851030" cy="3649773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EDA108-DA4F-FFD4-C915-CD891AC3AEEF}"/>
              </a:ext>
            </a:extLst>
          </p:cNvPr>
          <p:cNvSpPr txBox="1"/>
          <p:nvPr/>
        </p:nvSpPr>
        <p:spPr>
          <a:xfrm>
            <a:off x="5280837" y="5599813"/>
            <a:ext cx="5422604" cy="646331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ea typeface="+mn-lt"/>
                <a:cs typeface="+mn-lt"/>
              </a:rPr>
              <a:t>Visit </a:t>
            </a:r>
            <a:r>
              <a:rPr lang="en-US">
                <a:ea typeface="+mn-lt"/>
                <a:cs typeface="+mn-lt"/>
                <a:hlinkClick r:id="rId4"/>
              </a:rPr>
              <a:t>https://ilpqc.org/family-engagement/</a:t>
            </a:r>
            <a:r>
              <a:rPr lang="en-US">
                <a:ea typeface="+mn-lt"/>
                <a:cs typeface="+mn-lt"/>
              </a:rPr>
              <a:t> to utilize our Patient and Family Engagement Toolkit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413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569C2-FE06-372A-78F9-99BFA34F6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2002536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6" name="Picture 6" descr="A picture containing qr code&#10;&#10;Description automatically generated">
            <a:extLst>
              <a:ext uri="{FF2B5EF4-FFF2-40B4-BE49-F238E27FC236}">
                <a16:creationId xmlns:a16="http://schemas.microsoft.com/office/drawing/2014/main" id="{60739DEC-175B-2770-7434-124925D344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89451" y="457200"/>
            <a:ext cx="7013097" cy="59436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786C4-DFD2-CEA4-4C7F-93323FC707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3</a:t>
            </a:fld>
            <a:endParaRPr lang="en-US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0754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Upcoming BE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3868149"/>
              </p:ext>
            </p:extLst>
          </p:nvPr>
        </p:nvGraphicFramePr>
        <p:xfrm>
          <a:off x="248185" y="2255360"/>
          <a:ext cx="9706583" cy="255801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3045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417613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546339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BE August Webinar – Meaningful Connections for </a:t>
                      </a:r>
                      <a:r>
                        <a:rPr lang="en-US" sz="2400" b="1" i="0" u="none" strike="noStrike" kern="1200" noProof="0" dirty="0" err="1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SDoH</a:t>
                      </a: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Link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August 21st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75974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BE QI Summer Series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: 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Linking Patients to Community Resourc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endParaRPr lang="en-US" sz="2400" b="1" i="0" u="none" strike="noStrike" kern="1200" noProof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August 24th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0926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16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524000" y="1"/>
            <a:ext cx="9144000" cy="61075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752600" y="2640644"/>
            <a:ext cx="8686800" cy="571499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0076C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6600" dirty="0">
                <a:solidFill>
                  <a:schemeClr val="bg1"/>
                </a:solidFill>
              </a:rPr>
              <a:t>Parent Partners in the NICU</a:t>
            </a:r>
            <a:endParaRPr lang="en-US" sz="48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79470" y="4060120"/>
            <a:ext cx="7232073" cy="119940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55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 our Famil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828BA0-1792-4893-9567-DA5AF2D738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0" y="1089371"/>
            <a:ext cx="4686300" cy="4961627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04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3850B4-FBA2-4525-BFAA-C69819E85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CU Libra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EC5F82-02D6-401F-8154-01D6F433CC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36761" y="1323653"/>
            <a:ext cx="4698617" cy="322423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26" name="B21B12C1-330E-407B-AF25-2A3EF5716799" descr="IMG_4373.JPEG">
            <a:extLst>
              <a:ext uri="{FF2B5EF4-FFF2-40B4-BE49-F238E27FC236}">
                <a16:creationId xmlns:a16="http://schemas.microsoft.com/office/drawing/2014/main" id="{37F219FF-C292-4A6A-A07D-B3334CC9D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3400" y="800100"/>
            <a:ext cx="5816600" cy="538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408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4ABB2-7213-40A4-817E-526583BC9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B341C3-759C-45C3-BCC7-B70C7D2114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1150" y="152402"/>
            <a:ext cx="9029700" cy="618701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744954-4077-462A-86CD-1CCE87C09D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15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E29720-C805-4DDD-A76A-9EB8E7DA9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CU Bookle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5F37370-0B9C-41B2-B14B-EF432D4667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363455" y="1620491"/>
            <a:ext cx="4740174" cy="419151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C2E30F6-80A3-4556-A730-F6A3F47112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814095" y="1461036"/>
            <a:ext cx="4740173" cy="4510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941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CF8E89-2B53-317A-BFAA-A4C6319B1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0" y="640823"/>
            <a:ext cx="3418659" cy="5583148"/>
          </a:xfrm>
        </p:spPr>
        <p:txBody>
          <a:bodyPr anchor="ctr">
            <a:normAutofit/>
          </a:bodyPr>
          <a:lstStyle/>
          <a:p>
            <a:r>
              <a:rPr lang="en-US" sz="5400">
                <a:ea typeface="Lato Medium"/>
                <a:cs typeface="Lato Medium"/>
              </a:rPr>
              <a:t>Discussion</a:t>
            </a:r>
            <a:endParaRPr lang="en-US" sz="5400"/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32736-B919-F65D-D9C3-975B3B589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6821E-0C97-C7E1-0366-AF999507F9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0B494C0-A740-FB09-A28A-BE6035A8CC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4546798"/>
              </p:ext>
            </p:extLst>
          </p:nvPr>
        </p:nvGraphicFramePr>
        <p:xfrm>
          <a:off x="4648018" y="640822"/>
          <a:ext cx="6900512" cy="5536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81269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Our ILPQC Goal for Patient Engage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774239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BC1F801-7161-9E6E-EC10-57053C2B577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50AB553-2A96-4A92-96F2-93548E0969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">
                <a:schemeClr val="bg2">
                  <a:alpha val="68000"/>
                </a:schemeClr>
              </a:gs>
              <a:gs pos="85000">
                <a:schemeClr val="bg2">
                  <a:alpha val="97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A71801-3FA0-4628-A37F-463D60C49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7" y="-181214"/>
            <a:ext cx="10515600" cy="1325563"/>
          </a:xfrm>
        </p:spPr>
        <p:txBody>
          <a:bodyPr>
            <a:normAutofit/>
          </a:bodyPr>
          <a:lstStyle/>
          <a:p>
            <a:r>
              <a:rPr lang="en-US"/>
              <a:t>Our ILPQC goal for Patient Engage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4D801-C4D7-49F7-B416-0D9C6A8D4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95C82-F1C4-47DE-A937-4A35A82B14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BD00A057-5623-8BD2-0002-7B386AD351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9776425"/>
              </p:ext>
            </p:extLst>
          </p:nvPr>
        </p:nvGraphicFramePr>
        <p:xfrm>
          <a:off x="241540" y="955795"/>
          <a:ext cx="11716108" cy="5400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10169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ketchyVTI">
  <a:themeElements>
    <a:clrScheme name="AnalogousFromLightSeed_2SEEDS">
      <a:dk1>
        <a:srgbClr val="000000"/>
      </a:dk1>
      <a:lt1>
        <a:srgbClr val="FFFFFF"/>
      </a:lt1>
      <a:dk2>
        <a:srgbClr val="413024"/>
      </a:dk2>
      <a:lt2>
        <a:srgbClr val="E2E6E8"/>
      </a:lt2>
      <a:accent1>
        <a:srgbClr val="D59164"/>
      </a:accent1>
      <a:accent2>
        <a:srgbClr val="DC8081"/>
      </a:accent2>
      <a:accent3>
        <a:srgbClr val="AFA266"/>
      </a:accent3>
      <a:accent4>
        <a:srgbClr val="52AFAF"/>
      </a:accent4>
      <a:accent5>
        <a:srgbClr val="69A8D6"/>
      </a:accent5>
      <a:accent6>
        <a:srgbClr val="6476D5"/>
      </a:accent6>
      <a:hlink>
        <a:srgbClr val="5986A5"/>
      </a:hlink>
      <a:folHlink>
        <a:srgbClr val="7F7F7F"/>
      </a:folHlink>
    </a:clrScheme>
    <a:fontScheme name="Custom 2">
      <a:majorFont>
        <a:latin typeface="Modern Love"/>
        <a:ea typeface=""/>
        <a:cs typeface=""/>
      </a:majorFont>
      <a:minorFont>
        <a:latin typeface="The Ha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tchyVTI" id="{A6D2C935-A6E4-4DD9-BCC5-5AE2504DB8EA}" vid="{F0754072-50B6-4C01-B911-67246C9F58D2}"/>
    </a:ext>
  </a:extLst>
</a:theme>
</file>

<file path=ppt/theme/theme4.xml><?xml version="1.0" encoding="utf-8"?>
<a:theme xmlns:a="http://schemas.openxmlformats.org/drawingml/2006/main" name="1_Office Theme">
  <a:themeElements>
    <a:clrScheme name="SIH">
      <a:dk1>
        <a:srgbClr val="000000"/>
      </a:dk1>
      <a:lt1>
        <a:srgbClr val="FFFFFF"/>
      </a:lt1>
      <a:dk2>
        <a:srgbClr val="59CBE8"/>
      </a:dk2>
      <a:lt2>
        <a:srgbClr val="7A99AC"/>
      </a:lt2>
      <a:accent1>
        <a:srgbClr val="C6DAE7"/>
      </a:accent1>
      <a:accent2>
        <a:srgbClr val="34657F"/>
      </a:accent2>
      <a:accent3>
        <a:srgbClr val="0077C8"/>
      </a:accent3>
      <a:accent4>
        <a:srgbClr val="F3D54E"/>
      </a:accent4>
      <a:accent5>
        <a:srgbClr val="49C5B1"/>
      </a:accent5>
      <a:accent6>
        <a:srgbClr val="E56A54"/>
      </a:accent6>
      <a:hlink>
        <a:srgbClr val="000000"/>
      </a:hlink>
      <a:folHlink>
        <a:srgbClr val="7F7F7F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1_BasicWhite">
  <a:themeElements>
    <a:clrScheme name="21_BasicWhite">
      <a:dk1>
        <a:srgbClr val="40404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SlateStd-Bold"/>
        <a:ea typeface="SlateStd-Bold"/>
        <a:cs typeface="SlateStd-Bold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14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5500" b="0" i="0" u="none" strike="noStrike" cap="none" spc="0" normalizeH="0" baseline="0">
            <a:ln>
              <a:noFill/>
            </a:ln>
            <a:solidFill>
              <a:srgbClr val="404040"/>
            </a:solidFill>
            <a:effectLst/>
            <a:uFillTx/>
            <a:latin typeface="SlateStd-Light"/>
            <a:ea typeface="SlateStd-Light"/>
            <a:cs typeface="SlateStd-Light"/>
            <a:sym typeface="SlateStd-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Regional One Health">
      <a:dk1>
        <a:srgbClr val="000000"/>
      </a:dk1>
      <a:lt1>
        <a:sysClr val="window" lastClr="FFFFFF"/>
      </a:lt1>
      <a:dk2>
        <a:srgbClr val="203D7C"/>
      </a:dk2>
      <a:lt2>
        <a:srgbClr val="807F83"/>
      </a:lt2>
      <a:accent1>
        <a:srgbClr val="00AEEF"/>
      </a:accent1>
      <a:accent2>
        <a:srgbClr val="A9218E"/>
      </a:accent2>
      <a:accent3>
        <a:srgbClr val="EF3E42"/>
      </a:accent3>
      <a:accent4>
        <a:srgbClr val="F8971D"/>
      </a:accent4>
      <a:accent5>
        <a:srgbClr val="FFDD00"/>
      </a:accent5>
      <a:accent6>
        <a:srgbClr val="8DC63F"/>
      </a:accent6>
      <a:hlink>
        <a:srgbClr val="0563C1"/>
      </a:hlink>
      <a:folHlink>
        <a:srgbClr val="954F72"/>
      </a:folHlink>
    </a:clrScheme>
    <a:fontScheme name="Custom 35">
      <a:majorFont>
        <a:latin typeface="Arvo"/>
        <a:ea typeface=""/>
        <a:cs typeface=""/>
      </a:majorFont>
      <a:minorFont>
        <a:latin typeface="PT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C34F096D-3AF0-468A-86C5-9978E5517E3B}" vid="{84DBB035-C637-4C27-A3AF-8CDA9E8493D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4</Slides>
  <Notes>2</Notes>
  <HiddenSlides>0</HiddenSlide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office theme</vt:lpstr>
      <vt:lpstr>3_Office Theme</vt:lpstr>
      <vt:lpstr>SketchyVTI</vt:lpstr>
      <vt:lpstr>1_Office Theme</vt:lpstr>
      <vt:lpstr>21_BasicWhite</vt:lpstr>
      <vt:lpstr>Office Theme</vt:lpstr>
      <vt:lpstr>BE QI Summer Series Call #2: Patient Partners on QI Teams</vt:lpstr>
      <vt:lpstr>PowerPoint Presentation</vt:lpstr>
      <vt:lpstr>Meet our Families</vt:lpstr>
      <vt:lpstr>NICU Library</vt:lpstr>
      <vt:lpstr>PowerPoint Presentation</vt:lpstr>
      <vt:lpstr>NICU Booklet</vt:lpstr>
      <vt:lpstr>Discussion</vt:lpstr>
      <vt:lpstr>Our ILPQC Goal for Patient Engagement</vt:lpstr>
      <vt:lpstr>Our ILPQC goal for Patient Engagement</vt:lpstr>
      <vt:lpstr>Patient Engagement Leader Recognition at Annual Conference</vt:lpstr>
      <vt:lpstr>Once you have identified a patient partner for your BE QI team</vt:lpstr>
      <vt:lpstr>How can you get started?</vt:lpstr>
      <vt:lpstr>PowerPoint Presentation</vt:lpstr>
      <vt:lpstr>Upcoming BE Cal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87</cp:revision>
  <dcterms:created xsi:type="dcterms:W3CDTF">2023-06-14T13:43:01Z</dcterms:created>
  <dcterms:modified xsi:type="dcterms:W3CDTF">2023-08-24T18:52:52Z</dcterms:modified>
</cp:coreProperties>
</file>